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66.xml" ContentType="application/vnd.ms-office.chartcolorstyle+xml"/>
  <Override PartName="/ppt/charts/colors367.xml" ContentType="application/vnd.ms-office.chartcolorstyle+xml"/>
  <Override PartName="/ppt/charts/colors368.xml" ContentType="application/vnd.ms-office.chartcolorstyle+xml"/>
  <Override PartName="/ppt/charts/colors369.xml" ContentType="application/vnd.ms-office.chartcolorstyle+xml"/>
  <Override PartName="/ppt/charts/colors37.xml" ContentType="application/vnd.ms-office.chartcolorstyle+xml"/>
  <Override PartName="/ppt/charts/colors370.xml" ContentType="application/vnd.ms-office.chartcolorstyle+xml"/>
  <Override PartName="/ppt/charts/colors371.xml" ContentType="application/vnd.ms-office.chartcolorstyle+xml"/>
  <Override PartName="/ppt/charts/colors372.xml" ContentType="application/vnd.ms-office.chartcolorstyle+xml"/>
  <Override PartName="/ppt/charts/colors373.xml" ContentType="application/vnd.ms-office.chartcolorstyle+xml"/>
  <Override PartName="/ppt/charts/colors374.xml" ContentType="application/vnd.ms-office.chartcolorstyle+xml"/>
  <Override PartName="/ppt/charts/colors375.xml" ContentType="application/vnd.ms-office.chartcolorstyle+xml"/>
  <Override PartName="/ppt/charts/colors376.xml" ContentType="application/vnd.ms-office.chartcolorstyle+xml"/>
  <Override PartName="/ppt/charts/colors377.xml" ContentType="application/vnd.ms-office.chartcolorstyle+xml"/>
  <Override PartName="/ppt/charts/colors378.xml" ContentType="application/vnd.ms-office.chartcolorstyle+xml"/>
  <Override PartName="/ppt/charts/colors379.xml" ContentType="application/vnd.ms-office.chartcolorstyle+xml"/>
  <Override PartName="/ppt/charts/colors38.xml" ContentType="application/vnd.ms-office.chartcolorstyle+xml"/>
  <Override PartName="/ppt/charts/colors380.xml" ContentType="application/vnd.ms-office.chartcolorstyle+xml"/>
  <Override PartName="/ppt/charts/colors381.xml" ContentType="application/vnd.ms-office.chartcolorstyle+xml"/>
  <Override PartName="/ppt/charts/colors382.xml" ContentType="application/vnd.ms-office.chartcolorstyle+xml"/>
  <Override PartName="/ppt/charts/colors383.xml" ContentType="application/vnd.ms-office.chartcolorstyle+xml"/>
  <Override PartName="/ppt/charts/colors384.xml" ContentType="application/vnd.ms-office.chartcolorstyle+xml"/>
  <Override PartName="/ppt/charts/colors385.xml" ContentType="application/vnd.ms-office.chartcolorstyle+xml"/>
  <Override PartName="/ppt/charts/colors386.xml" ContentType="application/vnd.ms-office.chartcolorstyle+xml"/>
  <Override PartName="/ppt/charts/colors387.xml" ContentType="application/vnd.ms-office.chartcolorstyle+xml"/>
  <Override PartName="/ppt/charts/colors388.xml" ContentType="application/vnd.ms-office.chartcolorstyle+xml"/>
  <Override PartName="/ppt/charts/colors389.xml" ContentType="application/vnd.ms-office.chartcolorstyle+xml"/>
  <Override PartName="/ppt/charts/colors39.xml" ContentType="application/vnd.ms-office.chartcolorstyle+xml"/>
  <Override PartName="/ppt/charts/colors390.xml" ContentType="application/vnd.ms-office.chartcolorstyle+xml"/>
  <Override PartName="/ppt/charts/colors391.xml" ContentType="application/vnd.ms-office.chartcolorstyle+xml"/>
  <Override PartName="/ppt/charts/colors392.xml" ContentType="application/vnd.ms-office.chartcolorstyle+xml"/>
  <Override PartName="/ppt/charts/colors393.xml" ContentType="application/vnd.ms-office.chartcolorstyle+xml"/>
  <Override PartName="/ppt/charts/colors394.xml" ContentType="application/vnd.ms-office.chartcolorstyle+xml"/>
  <Override PartName="/ppt/charts/colors395.xml" ContentType="application/vnd.ms-office.chartcolorstyle+xml"/>
  <Override PartName="/ppt/charts/colors396.xml" ContentType="application/vnd.ms-office.chartcolorstyle+xml"/>
  <Override PartName="/ppt/charts/colors397.xml" ContentType="application/vnd.ms-office.chartcolorstyle+xml"/>
  <Override PartName="/ppt/charts/colors398.xml" ContentType="application/vnd.ms-office.chartcolorstyle+xml"/>
  <Override PartName="/ppt/charts/colors399.xml" ContentType="application/vnd.ms-office.chartcolorstyle+xml"/>
  <Override PartName="/ppt/charts/colors4.xml" ContentType="application/vnd.ms-office.chartcolorstyle+xml"/>
  <Override PartName="/ppt/charts/colors40.xml" ContentType="application/vnd.ms-office.chartcolorstyle+xml"/>
  <Override PartName="/ppt/charts/colors400.xml" ContentType="application/vnd.ms-office.chartcolorstyle+xml"/>
  <Override PartName="/ppt/charts/colors401.xml" ContentType="application/vnd.ms-office.chartcolorstyle+xml"/>
  <Override PartName="/ppt/charts/colors402.xml" ContentType="application/vnd.ms-office.chartcolorstyle+xml"/>
  <Override PartName="/ppt/charts/colors403.xml" ContentType="application/vnd.ms-office.chartcolorstyle+xml"/>
  <Override PartName="/ppt/charts/colors404.xml" ContentType="application/vnd.ms-office.chartcolorstyle+xml"/>
  <Override PartName="/ppt/charts/colors405.xml" ContentType="application/vnd.ms-office.chartcolorstyle+xml"/>
  <Override PartName="/ppt/charts/colors406.xml" ContentType="application/vnd.ms-office.chartcolorstyle+xml"/>
  <Override PartName="/ppt/charts/colors407.xml" ContentType="application/vnd.ms-office.chartcolorstyle+xml"/>
  <Override PartName="/ppt/charts/colors408.xml" ContentType="application/vnd.ms-office.chartcolorstyle+xml"/>
  <Override PartName="/ppt/charts/colors409.xml" ContentType="application/vnd.ms-office.chartcolorstyle+xml"/>
  <Override PartName="/ppt/charts/colors41.xml" ContentType="application/vnd.ms-office.chartcolorstyle+xml"/>
  <Override PartName="/ppt/charts/colors410.xml" ContentType="application/vnd.ms-office.chartcolorstyle+xml"/>
  <Override PartName="/ppt/charts/colors411.xml" ContentType="application/vnd.ms-office.chartcolorstyle+xml"/>
  <Override PartName="/ppt/charts/colors412.xml" ContentType="application/vnd.ms-office.chartcolorstyle+xml"/>
  <Override PartName="/ppt/charts/colors413.xml" ContentType="application/vnd.ms-office.chartcolorstyle+xml"/>
  <Override PartName="/ppt/charts/colors414.xml" ContentType="application/vnd.ms-office.chartcolorstyle+xml"/>
  <Override PartName="/ppt/charts/colors415.xml" ContentType="application/vnd.ms-office.chartcolorstyle+xml"/>
  <Override PartName="/ppt/charts/colors416.xml" ContentType="application/vnd.ms-office.chartcolorstyle+xml"/>
  <Override PartName="/ppt/charts/colors417.xml" ContentType="application/vnd.ms-office.chartcolorstyle+xml"/>
  <Override PartName="/ppt/charts/colors418.xml" ContentType="application/vnd.ms-office.chartcolorstyle+xml"/>
  <Override PartName="/ppt/charts/colors419.xml" ContentType="application/vnd.ms-office.chartcolorstyle+xml"/>
  <Override PartName="/ppt/charts/colors42.xml" ContentType="application/vnd.ms-office.chartcolorstyle+xml"/>
  <Override PartName="/ppt/charts/colors420.xml" ContentType="application/vnd.ms-office.chartcolorstyle+xml"/>
  <Override PartName="/ppt/charts/colors421.xml" ContentType="application/vnd.ms-office.chartcolorstyle+xml"/>
  <Override PartName="/ppt/charts/colors422.xml" ContentType="application/vnd.ms-office.chartcolorstyle+xml"/>
  <Override PartName="/ppt/charts/colors423.xml" ContentType="application/vnd.ms-office.chartcolorstyle+xml"/>
  <Override PartName="/ppt/charts/colors424.xml" ContentType="application/vnd.ms-office.chartcolorstyle+xml"/>
  <Override PartName="/ppt/charts/colors425.xml" ContentType="application/vnd.ms-office.chartcolorstyle+xml"/>
  <Override PartName="/ppt/charts/colors426.xml" ContentType="application/vnd.ms-office.chartcolorstyle+xml"/>
  <Override PartName="/ppt/charts/colors427.xml" ContentType="application/vnd.ms-office.chartcolorstyle+xml"/>
  <Override PartName="/ppt/charts/colors428.xml" ContentType="application/vnd.ms-office.chartcolorstyle+xml"/>
  <Override PartName="/ppt/charts/colors429.xml" ContentType="application/vnd.ms-office.chartcolorstyle+xml"/>
  <Override PartName="/ppt/charts/colors43.xml" ContentType="application/vnd.ms-office.chartcolorstyle+xml"/>
  <Override PartName="/ppt/charts/colors430.xml" ContentType="application/vnd.ms-office.chartcolorstyle+xml"/>
  <Override PartName="/ppt/charts/colors431.xml" ContentType="application/vnd.ms-office.chartcolorstyle+xml"/>
  <Override PartName="/ppt/charts/colors432.xml" ContentType="application/vnd.ms-office.chartcolorstyle+xml"/>
  <Override PartName="/ppt/charts/colors433.xml" ContentType="application/vnd.ms-office.chartcolorstyle+xml"/>
  <Override PartName="/ppt/charts/colors434.xml" ContentType="application/vnd.ms-office.chartcolorstyle+xml"/>
  <Override PartName="/ppt/charts/colors435.xml" ContentType="application/vnd.ms-office.chartcolorstyle+xml"/>
  <Override PartName="/ppt/charts/colors436.xml" ContentType="application/vnd.ms-office.chartcolorstyle+xml"/>
  <Override PartName="/ppt/charts/colors437.xml" ContentType="application/vnd.ms-office.chartcolorstyle+xml"/>
  <Override PartName="/ppt/charts/colors438.xml" ContentType="application/vnd.ms-office.chartcolorstyle+xml"/>
  <Override PartName="/ppt/charts/colors439.xml" ContentType="application/vnd.ms-office.chartcolorstyle+xml"/>
  <Override PartName="/ppt/charts/colors44.xml" ContentType="application/vnd.ms-office.chartcolorstyle+xml"/>
  <Override PartName="/ppt/charts/colors440.xml" ContentType="application/vnd.ms-office.chartcolorstyle+xml"/>
  <Override PartName="/ppt/charts/colors441.xml" ContentType="application/vnd.ms-office.chartcolorstyle+xml"/>
  <Override PartName="/ppt/charts/colors442.xml" ContentType="application/vnd.ms-office.chartcolorstyle+xml"/>
  <Override PartName="/ppt/charts/colors443.xml" ContentType="application/vnd.ms-office.chartcolorstyle+xml"/>
  <Override PartName="/ppt/charts/colors444.xml" ContentType="application/vnd.ms-office.chartcolorstyle+xml"/>
  <Override PartName="/ppt/charts/colors445.xml" ContentType="application/vnd.ms-office.chartcolorstyle+xml"/>
  <Override PartName="/ppt/charts/colors446.xml" ContentType="application/vnd.ms-office.chartcolorstyle+xml"/>
  <Override PartName="/ppt/charts/colors447.xml" ContentType="application/vnd.ms-office.chartcolorstyle+xml"/>
  <Override PartName="/ppt/charts/colors448.xml" ContentType="application/vnd.ms-office.chartcolorstyle+xml"/>
  <Override PartName="/ppt/charts/colors449.xml" ContentType="application/vnd.ms-office.chartcolorstyle+xml"/>
  <Override PartName="/ppt/charts/colors45.xml" ContentType="application/vnd.ms-office.chartcolorstyle+xml"/>
  <Override PartName="/ppt/charts/colors450.xml" ContentType="application/vnd.ms-office.chartcolorstyle+xml"/>
  <Override PartName="/ppt/charts/colors451.xml" ContentType="application/vnd.ms-office.chartcolorstyle+xml"/>
  <Override PartName="/ppt/charts/colors452.xml" ContentType="application/vnd.ms-office.chartcolorstyle+xml"/>
  <Override PartName="/ppt/charts/colors453.xml" ContentType="application/vnd.ms-office.chartcolorstyle+xml"/>
  <Override PartName="/ppt/charts/colors454.xml" ContentType="application/vnd.ms-office.chartcolorstyle+xml"/>
  <Override PartName="/ppt/charts/colors455.xml" ContentType="application/vnd.ms-office.chartcolorstyle+xml"/>
  <Override PartName="/ppt/charts/colors456.xml" ContentType="application/vnd.ms-office.chartcolorstyle+xml"/>
  <Override PartName="/ppt/charts/colors457.xml" ContentType="application/vnd.ms-office.chartcolorstyle+xml"/>
  <Override PartName="/ppt/charts/colors458.xml" ContentType="application/vnd.ms-office.chartcolorstyle+xml"/>
  <Override PartName="/ppt/charts/colors459.xml" ContentType="application/vnd.ms-office.chartcolorstyle+xml"/>
  <Override PartName="/ppt/charts/colors46.xml" ContentType="application/vnd.ms-office.chartcolorstyle+xml"/>
  <Override PartName="/ppt/charts/colors460.xml" ContentType="application/vnd.ms-office.chartcolorstyle+xml"/>
  <Override PartName="/ppt/charts/colors461.xml" ContentType="application/vnd.ms-office.chartcolorstyle+xml"/>
  <Override PartName="/ppt/charts/colors462.xml" ContentType="application/vnd.ms-office.chartcolorstyle+xml"/>
  <Override PartName="/ppt/charts/colors463.xml" ContentType="application/vnd.ms-office.chartcolorstyle+xml"/>
  <Override PartName="/ppt/charts/colors464.xml" ContentType="application/vnd.ms-office.chartcolorstyle+xml"/>
  <Override PartName="/ppt/charts/colors465.xml" ContentType="application/vnd.ms-office.chartcolorstyle+xml"/>
  <Override PartName="/ppt/charts/colors466.xml" ContentType="application/vnd.ms-office.chartcolorstyle+xml"/>
  <Override PartName="/ppt/charts/colors467.xml" ContentType="application/vnd.ms-office.chartcolorstyle+xml"/>
  <Override PartName="/ppt/charts/colors468.xml" ContentType="application/vnd.ms-office.chartcolorstyle+xml"/>
  <Override PartName="/ppt/charts/colors469.xml" ContentType="application/vnd.ms-office.chartcolorstyle+xml"/>
  <Override PartName="/ppt/charts/colors47.xml" ContentType="application/vnd.ms-office.chartcolorstyle+xml"/>
  <Override PartName="/ppt/charts/colors470.xml" ContentType="application/vnd.ms-office.chartcolorstyle+xml"/>
  <Override PartName="/ppt/charts/colors471.xml" ContentType="application/vnd.ms-office.chartcolorstyle+xml"/>
  <Override PartName="/ppt/charts/colors472.xml" ContentType="application/vnd.ms-office.chartcolorstyle+xml"/>
  <Override PartName="/ppt/charts/colors473.xml" ContentType="application/vnd.ms-office.chartcolorstyle+xml"/>
  <Override PartName="/ppt/charts/colors474.xml" ContentType="application/vnd.ms-office.chartcolorstyle+xml"/>
  <Override PartName="/ppt/charts/colors475.xml" ContentType="application/vnd.ms-office.chartcolorstyle+xml"/>
  <Override PartName="/ppt/charts/colors476.xml" ContentType="application/vnd.ms-office.chartcolorstyle+xml"/>
  <Override PartName="/ppt/charts/colors477.xml" ContentType="application/vnd.ms-office.chartcolorstyle+xml"/>
  <Override PartName="/ppt/charts/colors478.xml" ContentType="application/vnd.ms-office.chartcolorstyle+xml"/>
  <Override PartName="/ppt/charts/colors479.xml" ContentType="application/vnd.ms-office.chartcolorstyle+xml"/>
  <Override PartName="/ppt/charts/colors48.xml" ContentType="application/vnd.ms-office.chartcolorstyle+xml"/>
  <Override PartName="/ppt/charts/colors480.xml" ContentType="application/vnd.ms-office.chartcolorstyle+xml"/>
  <Override PartName="/ppt/charts/colors481.xml" ContentType="application/vnd.ms-office.chartcolorstyle+xml"/>
  <Override PartName="/ppt/charts/colors482.xml" ContentType="application/vnd.ms-office.chartcolorstyle+xml"/>
  <Override PartName="/ppt/charts/colors483.xml" ContentType="application/vnd.ms-office.chartcolorstyle+xml"/>
  <Override PartName="/ppt/charts/colors484.xml" ContentType="application/vnd.ms-office.chartcolorstyle+xml"/>
  <Override PartName="/ppt/charts/colors485.xml" ContentType="application/vnd.ms-office.chartcolorstyle+xml"/>
  <Override PartName="/ppt/charts/colors486.xml" ContentType="application/vnd.ms-office.chartcolorstyle+xml"/>
  <Override PartName="/ppt/charts/colors487.xml" ContentType="application/vnd.ms-office.chartcolorstyle+xml"/>
  <Override PartName="/ppt/charts/colors488.xml" ContentType="application/vnd.ms-office.chartcolorstyle+xml"/>
  <Override PartName="/ppt/charts/colors489.xml" ContentType="application/vnd.ms-office.chartcolorstyle+xml"/>
  <Override PartName="/ppt/charts/colors49.xml" ContentType="application/vnd.ms-office.chartcolorstyle+xml"/>
  <Override PartName="/ppt/charts/colors490.xml" ContentType="application/vnd.ms-office.chartcolorstyle+xml"/>
  <Override PartName="/ppt/charts/colors491.xml" ContentType="application/vnd.ms-office.chartcolorstyle+xml"/>
  <Override PartName="/ppt/charts/colors492.xml" ContentType="application/vnd.ms-office.chartcolorstyle+xml"/>
  <Override PartName="/ppt/charts/colors493.xml" ContentType="application/vnd.ms-office.chartcolorstyle+xml"/>
  <Override PartName="/ppt/charts/colors494.xml" ContentType="application/vnd.ms-office.chartcolorstyle+xml"/>
  <Override PartName="/ppt/charts/colors495.xml" ContentType="application/vnd.ms-office.chartcolorstyle+xml"/>
  <Override PartName="/ppt/charts/colors496.xml" ContentType="application/vnd.ms-office.chartcolorstyle+xml"/>
  <Override PartName="/ppt/charts/colors497.xml" ContentType="application/vnd.ms-office.chartcolorstyle+xml"/>
  <Override PartName="/ppt/charts/colors498.xml" ContentType="application/vnd.ms-office.chartcolorstyle+xml"/>
  <Override PartName="/ppt/charts/colors499.xml" ContentType="application/vnd.ms-office.chartcolorstyle+xml"/>
  <Override PartName="/ppt/charts/colors5.xml" ContentType="application/vnd.ms-office.chartcolorstyle+xml"/>
  <Override PartName="/ppt/charts/colors50.xml" ContentType="application/vnd.ms-office.chartcolorstyle+xml"/>
  <Override PartName="/ppt/charts/colors500.xml" ContentType="application/vnd.ms-office.chartcolorstyle+xml"/>
  <Override PartName="/ppt/charts/colors501.xml" ContentType="application/vnd.ms-office.chartcolorstyle+xml"/>
  <Override PartName="/ppt/charts/colors502.xml" ContentType="application/vnd.ms-office.chartcolorstyle+xml"/>
  <Override PartName="/ppt/charts/colors503.xml" ContentType="application/vnd.ms-office.chartcolorstyle+xml"/>
  <Override PartName="/ppt/charts/colors504.xml" ContentType="application/vnd.ms-office.chartcolorstyle+xml"/>
  <Override PartName="/ppt/charts/colors505.xml" ContentType="application/vnd.ms-office.chartcolorstyle+xml"/>
  <Override PartName="/ppt/charts/colors506.xml" ContentType="application/vnd.ms-office.chartcolorstyle+xml"/>
  <Override PartName="/ppt/charts/colors507.xml" ContentType="application/vnd.ms-office.chartcolorstyle+xml"/>
  <Override PartName="/ppt/charts/colors508.xml" ContentType="application/vnd.ms-office.chartcolorstyle+xml"/>
  <Override PartName="/ppt/charts/colors509.xml" ContentType="application/vnd.ms-office.chartcolorstyle+xml"/>
  <Override PartName="/ppt/charts/colors51.xml" ContentType="application/vnd.ms-office.chartcolorstyle+xml"/>
  <Override PartName="/ppt/charts/colors510.xml" ContentType="application/vnd.ms-office.chartcolorstyle+xml"/>
  <Override PartName="/ppt/charts/colors511.xml" ContentType="application/vnd.ms-office.chartcolorstyle+xml"/>
  <Override PartName="/ppt/charts/colors512.xml" ContentType="application/vnd.ms-office.chartcolorstyle+xml"/>
  <Override PartName="/ppt/charts/colors513.xml" ContentType="application/vnd.ms-office.chartcolorstyle+xml"/>
  <Override PartName="/ppt/charts/colors514.xml" ContentType="application/vnd.ms-office.chartcolorstyle+xml"/>
  <Override PartName="/ppt/charts/colors515.xml" ContentType="application/vnd.ms-office.chartcolorstyle+xml"/>
  <Override PartName="/ppt/charts/colors516.xml" ContentType="application/vnd.ms-office.chartcolorstyle+xml"/>
  <Override PartName="/ppt/charts/colors517.xml" ContentType="application/vnd.ms-office.chartcolorstyle+xml"/>
  <Override PartName="/ppt/charts/colors518.xml" ContentType="application/vnd.ms-office.chartcolorstyle+xml"/>
  <Override PartName="/ppt/charts/colors519.xml" ContentType="application/vnd.ms-office.chartcolorstyle+xml"/>
  <Override PartName="/ppt/charts/colors52.xml" ContentType="application/vnd.ms-office.chartcolorstyle+xml"/>
  <Override PartName="/ppt/charts/colors520.xml" ContentType="application/vnd.ms-office.chartcolorstyle+xml"/>
  <Override PartName="/ppt/charts/colors521.xml" ContentType="application/vnd.ms-office.chartcolorstyle+xml"/>
  <Override PartName="/ppt/charts/colors522.xml" ContentType="application/vnd.ms-office.chartcolorstyle+xml"/>
  <Override PartName="/ppt/charts/colors523.xml" ContentType="application/vnd.ms-office.chartcolorstyle+xml"/>
  <Override PartName="/ppt/charts/colors524.xml" ContentType="application/vnd.ms-office.chartcolorstyle+xml"/>
  <Override PartName="/ppt/charts/colors525.xml" ContentType="application/vnd.ms-office.chartcolorstyle+xml"/>
  <Override PartName="/ppt/charts/colors526.xml" ContentType="application/vnd.ms-office.chartcolorstyle+xml"/>
  <Override PartName="/ppt/charts/colors527.xml" ContentType="application/vnd.ms-office.chartcolorstyle+xml"/>
  <Override PartName="/ppt/charts/colors528.xml" ContentType="application/vnd.ms-office.chartcolorstyle+xml"/>
  <Override PartName="/ppt/charts/colors529.xml" ContentType="application/vnd.ms-office.chartcolorstyle+xml"/>
  <Override PartName="/ppt/charts/colors53.xml" ContentType="application/vnd.ms-office.chartcolorstyle+xml"/>
  <Override PartName="/ppt/charts/colors530.xml" ContentType="application/vnd.ms-office.chartcolorstyle+xml"/>
  <Override PartName="/ppt/charts/colors531.xml" ContentType="application/vnd.ms-office.chartcolorstyle+xml"/>
  <Override PartName="/ppt/charts/colors532.xml" ContentType="application/vnd.ms-office.chartcolorstyle+xml"/>
  <Override PartName="/ppt/charts/colors533.xml" ContentType="application/vnd.ms-office.chartcolorstyle+xml"/>
  <Override PartName="/ppt/charts/colors534.xml" ContentType="application/vnd.ms-office.chartcolorstyle+xml"/>
  <Override PartName="/ppt/charts/colors535.xml" ContentType="application/vnd.ms-office.chartcolorstyle+xml"/>
  <Override PartName="/ppt/charts/colors536.xml" ContentType="application/vnd.ms-office.chartcolorstyle+xml"/>
  <Override PartName="/ppt/charts/colors537.xml" ContentType="application/vnd.ms-office.chartcolorstyle+xml"/>
  <Override PartName="/ppt/charts/colors538.xml" ContentType="application/vnd.ms-office.chartcolorstyle+xml"/>
  <Override PartName="/ppt/charts/colors539.xml" ContentType="application/vnd.ms-office.chartcolorstyle+xml"/>
  <Override PartName="/ppt/charts/colors54.xml" ContentType="application/vnd.ms-office.chartcolorstyle+xml"/>
  <Override PartName="/ppt/charts/colors540.xml" ContentType="application/vnd.ms-office.chartcolorstyle+xml"/>
  <Override PartName="/ppt/charts/colors541.xml" ContentType="application/vnd.ms-office.chartcolorstyle+xml"/>
  <Override PartName="/ppt/charts/colors542.xml" ContentType="application/vnd.ms-office.chartcolorstyle+xml"/>
  <Override PartName="/ppt/charts/colors543.xml" ContentType="application/vnd.ms-office.chartcolorstyle+xml"/>
  <Override PartName="/ppt/charts/colors544.xml" ContentType="application/vnd.ms-office.chartcolorstyle+xml"/>
  <Override PartName="/ppt/charts/colors545.xml" ContentType="application/vnd.ms-office.chartcolorstyle+xml"/>
  <Override PartName="/ppt/charts/colors546.xml" ContentType="application/vnd.ms-office.chartcolorstyle+xml"/>
  <Override PartName="/ppt/charts/colors547.xml" ContentType="application/vnd.ms-office.chartcolorstyle+xml"/>
  <Override PartName="/ppt/charts/colors548.xml" ContentType="application/vnd.ms-office.chartcolorstyle+xml"/>
  <Override PartName="/ppt/charts/colors549.xml" ContentType="application/vnd.ms-office.chartcolorstyle+xml"/>
  <Override PartName="/ppt/charts/colors55.xml" ContentType="application/vnd.ms-office.chartcolorstyle+xml"/>
  <Override PartName="/ppt/charts/colors550.xml" ContentType="application/vnd.ms-office.chartcolorstyle+xml"/>
  <Override PartName="/ppt/charts/colors551.xml" ContentType="application/vnd.ms-office.chartcolorstyle+xml"/>
  <Override PartName="/ppt/charts/colors552.xml" ContentType="application/vnd.ms-office.chartcolorstyle+xml"/>
  <Override PartName="/ppt/charts/colors553.xml" ContentType="application/vnd.ms-office.chartcolorstyle+xml"/>
  <Override PartName="/ppt/charts/colors554.xml" ContentType="application/vnd.ms-office.chartcolorstyle+xml"/>
  <Override PartName="/ppt/charts/colors555.xml" ContentType="application/vnd.ms-office.chartcolorstyle+xml"/>
  <Override PartName="/ppt/charts/colors556.xml" ContentType="application/vnd.ms-office.chartcolorstyle+xml"/>
  <Override PartName="/ppt/charts/colors557.xml" ContentType="application/vnd.ms-office.chartcolorstyle+xml"/>
  <Override PartName="/ppt/charts/colors558.xml" ContentType="application/vnd.ms-office.chartcolorstyle+xml"/>
  <Override PartName="/ppt/charts/colors559.xml" ContentType="application/vnd.ms-office.chartcolorstyle+xml"/>
  <Override PartName="/ppt/charts/colors56.xml" ContentType="application/vnd.ms-office.chartcolorstyle+xml"/>
  <Override PartName="/ppt/charts/colors560.xml" ContentType="application/vnd.ms-office.chartcolorstyle+xml"/>
  <Override PartName="/ppt/charts/colors561.xml" ContentType="application/vnd.ms-office.chartcolorstyle+xml"/>
  <Override PartName="/ppt/charts/colors562.xml" ContentType="application/vnd.ms-office.chartcolorstyle+xml"/>
  <Override PartName="/ppt/charts/colors563.xml" ContentType="application/vnd.ms-office.chartcolorstyle+xml"/>
  <Override PartName="/ppt/charts/colors564.xml" ContentType="application/vnd.ms-office.chartcolorstyle+xml"/>
  <Override PartName="/ppt/charts/colors565.xml" ContentType="application/vnd.ms-office.chartcolorstyle+xml"/>
  <Override PartName="/ppt/charts/colors566.xml" ContentType="application/vnd.ms-office.chartcolorstyle+xml"/>
  <Override PartName="/ppt/charts/colors567.xml" ContentType="application/vnd.ms-office.chartcolorstyle+xml"/>
  <Override PartName="/ppt/charts/colors568.xml" ContentType="application/vnd.ms-office.chartcolorstyle+xml"/>
  <Override PartName="/ppt/charts/colors569.xml" ContentType="application/vnd.ms-office.chartcolorstyle+xml"/>
  <Override PartName="/ppt/charts/colors57.xml" ContentType="application/vnd.ms-office.chartcolorstyle+xml"/>
  <Override PartName="/ppt/charts/colors570.xml" ContentType="application/vnd.ms-office.chartcolorstyle+xml"/>
  <Override PartName="/ppt/charts/colors571.xml" ContentType="application/vnd.ms-office.chartcolorstyle+xml"/>
  <Override PartName="/ppt/charts/colors572.xml" ContentType="application/vnd.ms-office.chartcolorstyle+xml"/>
  <Override PartName="/ppt/charts/colors573.xml" ContentType="application/vnd.ms-office.chartcolorstyle+xml"/>
  <Override PartName="/ppt/charts/colors574.xml" ContentType="application/vnd.ms-office.chartcolorstyle+xml"/>
  <Override PartName="/ppt/charts/colors575.xml" ContentType="application/vnd.ms-office.chartcolorstyle+xml"/>
  <Override PartName="/ppt/charts/colors576.xml" ContentType="application/vnd.ms-office.chartcolorstyle+xml"/>
  <Override PartName="/ppt/charts/colors577.xml" ContentType="application/vnd.ms-office.chartcolorstyle+xml"/>
  <Override PartName="/ppt/charts/colors578.xml" ContentType="application/vnd.ms-office.chartcolorstyle+xml"/>
  <Override PartName="/ppt/charts/colors579.xml" ContentType="application/vnd.ms-office.chartcolorstyle+xml"/>
  <Override PartName="/ppt/charts/colors58.xml" ContentType="application/vnd.ms-office.chartcolorstyle+xml"/>
  <Override PartName="/ppt/charts/colors580.xml" ContentType="application/vnd.ms-office.chartcolorstyle+xml"/>
  <Override PartName="/ppt/charts/colors581.xml" ContentType="application/vnd.ms-office.chartcolorstyle+xml"/>
  <Override PartName="/ppt/charts/colors582.xml" ContentType="application/vnd.ms-office.chartcolorstyle+xml"/>
  <Override PartName="/ppt/charts/colors583.xml" ContentType="application/vnd.ms-office.chartcolorstyle+xml"/>
  <Override PartName="/ppt/charts/colors584.xml" ContentType="application/vnd.ms-office.chartcolorstyle+xml"/>
  <Override PartName="/ppt/charts/colors585.xml" ContentType="application/vnd.ms-office.chartcolorstyle+xml"/>
  <Override PartName="/ppt/charts/colors586.xml" ContentType="application/vnd.ms-office.chartcolorstyle+xml"/>
  <Override PartName="/ppt/charts/colors587.xml" ContentType="application/vnd.ms-office.chartcolorstyle+xml"/>
  <Override PartName="/ppt/charts/colors588.xml" ContentType="application/vnd.ms-office.chartcolorstyle+xml"/>
  <Override PartName="/ppt/charts/colors589.xml" ContentType="application/vnd.ms-office.chartcolorstyle+xml"/>
  <Override PartName="/ppt/charts/colors59.xml" ContentType="application/vnd.ms-office.chartcolorstyle+xml"/>
  <Override PartName="/ppt/charts/colors590.xml" ContentType="application/vnd.ms-office.chartcolorstyle+xml"/>
  <Override PartName="/ppt/charts/colors591.xml" ContentType="application/vnd.ms-office.chartcolorstyle+xml"/>
  <Override PartName="/ppt/charts/colors592.xml" ContentType="application/vnd.ms-office.chartcolorstyle+xml"/>
  <Override PartName="/ppt/charts/colors593.xml" ContentType="application/vnd.ms-office.chartcolorstyle+xml"/>
  <Override PartName="/ppt/charts/colors594.xml" ContentType="application/vnd.ms-office.chartcolorstyle+xml"/>
  <Override PartName="/ppt/charts/colors595.xml" ContentType="application/vnd.ms-office.chartcolorstyle+xml"/>
  <Override PartName="/ppt/charts/colors596.xml" ContentType="application/vnd.ms-office.chartcolorstyle+xml"/>
  <Override PartName="/ppt/charts/colors597.xml" ContentType="application/vnd.ms-office.chartcolorstyle+xml"/>
  <Override PartName="/ppt/charts/colors598.xml" ContentType="application/vnd.ms-office.chartcolorstyle+xml"/>
  <Override PartName="/ppt/charts/colors599.xml" ContentType="application/vnd.ms-office.chartcolorstyle+xml"/>
  <Override PartName="/ppt/charts/colors6.xml" ContentType="application/vnd.ms-office.chartcolorstyle+xml"/>
  <Override PartName="/ppt/charts/colors60.xml" ContentType="application/vnd.ms-office.chartcolorstyle+xml"/>
  <Override PartName="/ppt/charts/colors600.xml" ContentType="application/vnd.ms-office.chartcolorstyle+xml"/>
  <Override PartName="/ppt/charts/colors601.xml" ContentType="application/vnd.ms-office.chartcolorstyle+xml"/>
  <Override PartName="/ppt/charts/colors602.xml" ContentType="application/vnd.ms-office.chartcolorstyle+xml"/>
  <Override PartName="/ppt/charts/colors603.xml" ContentType="application/vnd.ms-office.chartcolorstyle+xml"/>
  <Override PartName="/ppt/charts/colors604.xml" ContentType="application/vnd.ms-office.chartcolorstyle+xml"/>
  <Override PartName="/ppt/charts/colors605.xml" ContentType="application/vnd.ms-office.chartcolorstyle+xml"/>
  <Override PartName="/ppt/charts/colors606.xml" ContentType="application/vnd.ms-office.chartcolorstyle+xml"/>
  <Override PartName="/ppt/charts/colors607.xml" ContentType="application/vnd.ms-office.chartcolorstyle+xml"/>
  <Override PartName="/ppt/charts/colors608.xml" ContentType="application/vnd.ms-office.chartcolorstyle+xml"/>
  <Override PartName="/ppt/charts/colors609.xml" ContentType="application/vnd.ms-office.chartcolorstyle+xml"/>
  <Override PartName="/ppt/charts/colors61.xml" ContentType="application/vnd.ms-office.chartcolorstyle+xml"/>
  <Override PartName="/ppt/charts/colors610.xml" ContentType="application/vnd.ms-office.chartcolorstyle+xml"/>
  <Override PartName="/ppt/charts/colors611.xml" ContentType="application/vnd.ms-office.chartcolorstyle+xml"/>
  <Override PartName="/ppt/charts/colors612.xml" ContentType="application/vnd.ms-office.chartcolorstyle+xml"/>
  <Override PartName="/ppt/charts/colors613.xml" ContentType="application/vnd.ms-office.chartcolorstyle+xml"/>
  <Override PartName="/ppt/charts/colors614.xml" ContentType="application/vnd.ms-office.chartcolorstyle+xml"/>
  <Override PartName="/ppt/charts/colors615.xml" ContentType="application/vnd.ms-office.chartcolorstyle+xml"/>
  <Override PartName="/ppt/charts/colors616.xml" ContentType="application/vnd.ms-office.chartcolorstyle+xml"/>
  <Override PartName="/ppt/charts/colors617.xml" ContentType="application/vnd.ms-office.chartcolorstyle+xml"/>
  <Override PartName="/ppt/charts/colors618.xml" ContentType="application/vnd.ms-office.chartcolorstyle+xml"/>
  <Override PartName="/ppt/charts/colors619.xml" ContentType="application/vnd.ms-office.chartcolorstyle+xml"/>
  <Override PartName="/ppt/charts/colors62.xml" ContentType="application/vnd.ms-office.chartcolorstyle+xml"/>
  <Override PartName="/ppt/charts/colors620.xml" ContentType="application/vnd.ms-office.chartcolorstyle+xml"/>
  <Override PartName="/ppt/charts/colors621.xml" ContentType="application/vnd.ms-office.chartcolorstyle+xml"/>
  <Override PartName="/ppt/charts/colors622.xml" ContentType="application/vnd.ms-office.chartcolorstyle+xml"/>
  <Override PartName="/ppt/charts/colors623.xml" ContentType="application/vnd.ms-office.chartcolorstyle+xml"/>
  <Override PartName="/ppt/charts/colors624.xml" ContentType="application/vnd.ms-office.chartcolorstyle+xml"/>
  <Override PartName="/ppt/charts/colors625.xml" ContentType="application/vnd.ms-office.chartcolorstyle+xml"/>
  <Override PartName="/ppt/charts/colors626.xml" ContentType="application/vnd.ms-office.chartcolorstyle+xml"/>
  <Override PartName="/ppt/charts/colors627.xml" ContentType="application/vnd.ms-office.chartcolorstyle+xml"/>
  <Override PartName="/ppt/charts/colors628.xml" ContentType="application/vnd.ms-office.chartcolorstyle+xml"/>
  <Override PartName="/ppt/charts/colors629.xml" ContentType="application/vnd.ms-office.chartcolorstyle+xml"/>
  <Override PartName="/ppt/charts/colors63.xml" ContentType="application/vnd.ms-office.chartcolorstyle+xml"/>
  <Override PartName="/ppt/charts/colors630.xml" ContentType="application/vnd.ms-office.chartcolorstyle+xml"/>
  <Override PartName="/ppt/charts/colors631.xml" ContentType="application/vnd.ms-office.chartcolorstyle+xml"/>
  <Override PartName="/ppt/charts/colors632.xml" ContentType="application/vnd.ms-office.chartcolorstyle+xml"/>
  <Override PartName="/ppt/charts/colors633.xml" ContentType="application/vnd.ms-office.chartcolorstyle+xml"/>
  <Override PartName="/ppt/charts/colors634.xml" ContentType="application/vnd.ms-office.chartcolorstyle+xml"/>
  <Override PartName="/ppt/charts/colors635.xml" ContentType="application/vnd.ms-office.chartcolorstyle+xml"/>
  <Override PartName="/ppt/charts/colors636.xml" ContentType="application/vnd.ms-office.chartcolorstyle+xml"/>
  <Override PartName="/ppt/charts/colors637.xml" ContentType="application/vnd.ms-office.chartcolorstyle+xml"/>
  <Override PartName="/ppt/charts/colors638.xml" ContentType="application/vnd.ms-office.chartcolorstyle+xml"/>
  <Override PartName="/ppt/charts/colors639.xml" ContentType="application/vnd.ms-office.chartcolorstyle+xml"/>
  <Override PartName="/ppt/charts/colors64.xml" ContentType="application/vnd.ms-office.chartcolorstyle+xml"/>
  <Override PartName="/ppt/charts/colors640.xml" ContentType="application/vnd.ms-office.chartcolorstyle+xml"/>
  <Override PartName="/ppt/charts/colors641.xml" ContentType="application/vnd.ms-office.chartcolorstyle+xml"/>
  <Override PartName="/ppt/charts/colors642.xml" ContentType="application/vnd.ms-office.chartcolorstyle+xml"/>
  <Override PartName="/ppt/charts/colors643.xml" ContentType="application/vnd.ms-office.chartcolorstyle+xml"/>
  <Override PartName="/ppt/charts/colors644.xml" ContentType="application/vnd.ms-office.chartcolorstyle+xml"/>
  <Override PartName="/ppt/charts/colors645.xml" ContentType="application/vnd.ms-office.chartcolorstyle+xml"/>
  <Override PartName="/ppt/charts/colors646.xml" ContentType="application/vnd.ms-office.chartcolorstyle+xml"/>
  <Override PartName="/ppt/charts/colors647.xml" ContentType="application/vnd.ms-office.chartcolorstyle+xml"/>
  <Override PartName="/ppt/charts/colors648.xml" ContentType="application/vnd.ms-office.chartcolorstyle+xml"/>
  <Override PartName="/ppt/charts/colors649.xml" ContentType="application/vnd.ms-office.chartcolorstyle+xml"/>
  <Override PartName="/ppt/charts/colors65.xml" ContentType="application/vnd.ms-office.chartcolorstyle+xml"/>
  <Override PartName="/ppt/charts/colors650.xml" ContentType="application/vnd.ms-office.chartcolorstyle+xml"/>
  <Override PartName="/ppt/charts/colors651.xml" ContentType="application/vnd.ms-office.chartcolorstyle+xml"/>
  <Override PartName="/ppt/charts/colors652.xml" ContentType="application/vnd.ms-office.chartcolorstyle+xml"/>
  <Override PartName="/ppt/charts/colors653.xml" ContentType="application/vnd.ms-office.chartcolorstyle+xml"/>
  <Override PartName="/ppt/charts/colors654.xml" ContentType="application/vnd.ms-office.chartcolorstyle+xml"/>
  <Override PartName="/ppt/charts/colors655.xml" ContentType="application/vnd.ms-office.chartcolorstyle+xml"/>
  <Override PartName="/ppt/charts/colors656.xml" ContentType="application/vnd.ms-office.chartcolorstyle+xml"/>
  <Override PartName="/ppt/charts/colors657.xml" ContentType="application/vnd.ms-office.chartcolorstyle+xml"/>
  <Override PartName="/ppt/charts/colors658.xml" ContentType="application/vnd.ms-office.chartcolorstyle+xml"/>
  <Override PartName="/ppt/charts/colors659.xml" ContentType="application/vnd.ms-office.chartcolorstyle+xml"/>
  <Override PartName="/ppt/charts/colors66.xml" ContentType="application/vnd.ms-office.chartcolorstyle+xml"/>
  <Override PartName="/ppt/charts/colors660.xml" ContentType="application/vnd.ms-office.chartcolorstyle+xml"/>
  <Override PartName="/ppt/charts/colors661.xml" ContentType="application/vnd.ms-office.chartcolorstyle+xml"/>
  <Override PartName="/ppt/charts/colors662.xml" ContentType="application/vnd.ms-office.chartcolorstyle+xml"/>
  <Override PartName="/ppt/charts/colors663.xml" ContentType="application/vnd.ms-office.chartcolorstyle+xml"/>
  <Override PartName="/ppt/charts/colors664.xml" ContentType="application/vnd.ms-office.chartcolorstyle+xml"/>
  <Override PartName="/ppt/charts/colors665.xml" ContentType="application/vnd.ms-office.chartcolorstyle+xml"/>
  <Override PartName="/ppt/charts/colors666.xml" ContentType="application/vnd.ms-office.chartcolorstyle+xml"/>
  <Override PartName="/ppt/charts/colors667.xml" ContentType="application/vnd.ms-office.chartcolorstyle+xml"/>
  <Override PartName="/ppt/charts/colors668.xml" ContentType="application/vnd.ms-office.chartcolorstyle+xml"/>
  <Override PartName="/ppt/charts/colors669.xml" ContentType="application/vnd.ms-office.chartcolorstyle+xml"/>
  <Override PartName="/ppt/charts/colors67.xml" ContentType="application/vnd.ms-office.chartcolorstyle+xml"/>
  <Override PartName="/ppt/charts/colors670.xml" ContentType="application/vnd.ms-office.chartcolorstyle+xml"/>
  <Override PartName="/ppt/charts/colors671.xml" ContentType="application/vnd.ms-office.chartcolorstyle+xml"/>
  <Override PartName="/ppt/charts/colors672.xml" ContentType="application/vnd.ms-office.chartcolorstyle+xml"/>
  <Override PartName="/ppt/charts/colors673.xml" ContentType="application/vnd.ms-office.chartcolorstyle+xml"/>
  <Override PartName="/ppt/charts/colors674.xml" ContentType="application/vnd.ms-office.chartcolorstyle+xml"/>
  <Override PartName="/ppt/charts/colors675.xml" ContentType="application/vnd.ms-office.chartcolorstyle+xml"/>
  <Override PartName="/ppt/charts/colors676.xml" ContentType="application/vnd.ms-office.chartcolorstyle+xml"/>
  <Override PartName="/ppt/charts/colors677.xml" ContentType="application/vnd.ms-office.chartcolorstyle+xml"/>
  <Override PartName="/ppt/charts/colors678.xml" ContentType="application/vnd.ms-office.chartcolorstyle+xml"/>
  <Override PartName="/ppt/charts/colors679.xml" ContentType="application/vnd.ms-office.chartcolorstyle+xml"/>
  <Override PartName="/ppt/charts/colors68.xml" ContentType="application/vnd.ms-office.chartcolorstyle+xml"/>
  <Override PartName="/ppt/charts/colors680.xml" ContentType="application/vnd.ms-office.chartcolorstyle+xml"/>
  <Override PartName="/ppt/charts/colors681.xml" ContentType="application/vnd.ms-office.chartcolorstyle+xml"/>
  <Override PartName="/ppt/charts/colors682.xml" ContentType="application/vnd.ms-office.chartcolorstyle+xml"/>
  <Override PartName="/ppt/charts/colors683.xml" ContentType="application/vnd.ms-office.chartcolorstyle+xml"/>
  <Override PartName="/ppt/charts/colors684.xml" ContentType="application/vnd.ms-office.chartcolorstyle+xml"/>
  <Override PartName="/ppt/charts/colors685.xml" ContentType="application/vnd.ms-office.chartcolorstyle+xml"/>
  <Override PartName="/ppt/charts/colors686.xml" ContentType="application/vnd.ms-office.chartcolorstyle+xml"/>
  <Override PartName="/ppt/charts/colors687.xml" ContentType="application/vnd.ms-office.chartcolorstyle+xml"/>
  <Override PartName="/ppt/charts/colors688.xml" ContentType="application/vnd.ms-office.chartcolorstyle+xml"/>
  <Override PartName="/ppt/charts/colors689.xml" ContentType="application/vnd.ms-office.chartcolorstyle+xml"/>
  <Override PartName="/ppt/charts/colors69.xml" ContentType="application/vnd.ms-office.chartcolorstyle+xml"/>
  <Override PartName="/ppt/charts/colors690.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66.xml" ContentType="application/vnd.ms-office.chartstyle+xml"/>
  <Override PartName="/ppt/charts/style367.xml" ContentType="application/vnd.ms-office.chartstyle+xml"/>
  <Override PartName="/ppt/charts/style368.xml" ContentType="application/vnd.ms-office.chartstyle+xml"/>
  <Override PartName="/ppt/charts/style369.xml" ContentType="application/vnd.ms-office.chartstyle+xml"/>
  <Override PartName="/ppt/charts/style37.xml" ContentType="application/vnd.ms-office.chartstyle+xml"/>
  <Override PartName="/ppt/charts/style370.xml" ContentType="application/vnd.ms-office.chartstyle+xml"/>
  <Override PartName="/ppt/charts/style371.xml" ContentType="application/vnd.ms-office.chartstyle+xml"/>
  <Override PartName="/ppt/charts/style372.xml" ContentType="application/vnd.ms-office.chartstyle+xml"/>
  <Override PartName="/ppt/charts/style373.xml" ContentType="application/vnd.ms-office.chartstyle+xml"/>
  <Override PartName="/ppt/charts/style374.xml" ContentType="application/vnd.ms-office.chartstyle+xml"/>
  <Override PartName="/ppt/charts/style375.xml" ContentType="application/vnd.ms-office.chartstyle+xml"/>
  <Override PartName="/ppt/charts/style376.xml" ContentType="application/vnd.ms-office.chartstyle+xml"/>
  <Override PartName="/ppt/charts/style377.xml" ContentType="application/vnd.ms-office.chartstyle+xml"/>
  <Override PartName="/ppt/charts/style378.xml" ContentType="application/vnd.ms-office.chartstyle+xml"/>
  <Override PartName="/ppt/charts/style379.xml" ContentType="application/vnd.ms-office.chartstyle+xml"/>
  <Override PartName="/ppt/charts/style38.xml" ContentType="application/vnd.ms-office.chartstyle+xml"/>
  <Override PartName="/ppt/charts/style380.xml" ContentType="application/vnd.ms-office.chartstyle+xml"/>
  <Override PartName="/ppt/charts/style381.xml" ContentType="application/vnd.ms-office.chartstyle+xml"/>
  <Override PartName="/ppt/charts/style382.xml" ContentType="application/vnd.ms-office.chartstyle+xml"/>
  <Override PartName="/ppt/charts/style383.xml" ContentType="application/vnd.ms-office.chartstyle+xml"/>
  <Override PartName="/ppt/charts/style384.xml" ContentType="application/vnd.ms-office.chartstyle+xml"/>
  <Override PartName="/ppt/charts/style385.xml" ContentType="application/vnd.ms-office.chartstyle+xml"/>
  <Override PartName="/ppt/charts/style386.xml" ContentType="application/vnd.ms-office.chartstyle+xml"/>
  <Override PartName="/ppt/charts/style387.xml" ContentType="application/vnd.ms-office.chartstyle+xml"/>
  <Override PartName="/ppt/charts/style388.xml" ContentType="application/vnd.ms-office.chartstyle+xml"/>
  <Override PartName="/ppt/charts/style389.xml" ContentType="application/vnd.ms-office.chartstyle+xml"/>
  <Override PartName="/ppt/charts/style39.xml" ContentType="application/vnd.ms-office.chartstyle+xml"/>
  <Override PartName="/ppt/charts/style390.xml" ContentType="application/vnd.ms-office.chartstyle+xml"/>
  <Override PartName="/ppt/charts/style391.xml" ContentType="application/vnd.ms-office.chartstyle+xml"/>
  <Override PartName="/ppt/charts/style392.xml" ContentType="application/vnd.ms-office.chartstyle+xml"/>
  <Override PartName="/ppt/charts/style393.xml" ContentType="application/vnd.ms-office.chartstyle+xml"/>
  <Override PartName="/ppt/charts/style394.xml" ContentType="application/vnd.ms-office.chartstyle+xml"/>
  <Override PartName="/ppt/charts/style395.xml" ContentType="application/vnd.ms-office.chartstyle+xml"/>
  <Override PartName="/ppt/charts/style396.xml" ContentType="application/vnd.ms-office.chartstyle+xml"/>
  <Override PartName="/ppt/charts/style397.xml" ContentType="application/vnd.ms-office.chartstyle+xml"/>
  <Override PartName="/ppt/charts/style398.xml" ContentType="application/vnd.ms-office.chartstyle+xml"/>
  <Override PartName="/ppt/charts/style399.xml" ContentType="application/vnd.ms-office.chartstyle+xml"/>
  <Override PartName="/ppt/charts/style4.xml" ContentType="application/vnd.ms-office.chartstyle+xml"/>
  <Override PartName="/ppt/charts/style40.xml" ContentType="application/vnd.ms-office.chartstyle+xml"/>
  <Override PartName="/ppt/charts/style400.xml" ContentType="application/vnd.ms-office.chartstyle+xml"/>
  <Override PartName="/ppt/charts/style401.xml" ContentType="application/vnd.ms-office.chartstyle+xml"/>
  <Override PartName="/ppt/charts/style402.xml" ContentType="application/vnd.ms-office.chartstyle+xml"/>
  <Override PartName="/ppt/charts/style403.xml" ContentType="application/vnd.ms-office.chartstyle+xml"/>
  <Override PartName="/ppt/charts/style404.xml" ContentType="application/vnd.ms-office.chartstyle+xml"/>
  <Override PartName="/ppt/charts/style405.xml" ContentType="application/vnd.ms-office.chartstyle+xml"/>
  <Override PartName="/ppt/charts/style406.xml" ContentType="application/vnd.ms-office.chartstyle+xml"/>
  <Override PartName="/ppt/charts/style407.xml" ContentType="application/vnd.ms-office.chartstyle+xml"/>
  <Override PartName="/ppt/charts/style408.xml" ContentType="application/vnd.ms-office.chartstyle+xml"/>
  <Override PartName="/ppt/charts/style409.xml" ContentType="application/vnd.ms-office.chartstyle+xml"/>
  <Override PartName="/ppt/charts/style41.xml" ContentType="application/vnd.ms-office.chartstyle+xml"/>
  <Override PartName="/ppt/charts/style410.xml" ContentType="application/vnd.ms-office.chartstyle+xml"/>
  <Override PartName="/ppt/charts/style411.xml" ContentType="application/vnd.ms-office.chartstyle+xml"/>
  <Override PartName="/ppt/charts/style412.xml" ContentType="application/vnd.ms-office.chartstyle+xml"/>
  <Override PartName="/ppt/charts/style413.xml" ContentType="application/vnd.ms-office.chartstyle+xml"/>
  <Override PartName="/ppt/charts/style414.xml" ContentType="application/vnd.ms-office.chartstyle+xml"/>
  <Override PartName="/ppt/charts/style415.xml" ContentType="application/vnd.ms-office.chartstyle+xml"/>
  <Override PartName="/ppt/charts/style416.xml" ContentType="application/vnd.ms-office.chartstyle+xml"/>
  <Override PartName="/ppt/charts/style417.xml" ContentType="application/vnd.ms-office.chartstyle+xml"/>
  <Override PartName="/ppt/charts/style418.xml" ContentType="application/vnd.ms-office.chartstyle+xml"/>
  <Override PartName="/ppt/charts/style419.xml" ContentType="application/vnd.ms-office.chartstyle+xml"/>
  <Override PartName="/ppt/charts/style42.xml" ContentType="application/vnd.ms-office.chartstyle+xml"/>
  <Override PartName="/ppt/charts/style420.xml" ContentType="application/vnd.ms-office.chartstyle+xml"/>
  <Override PartName="/ppt/charts/style421.xml" ContentType="application/vnd.ms-office.chartstyle+xml"/>
  <Override PartName="/ppt/charts/style422.xml" ContentType="application/vnd.ms-office.chartstyle+xml"/>
  <Override PartName="/ppt/charts/style423.xml" ContentType="application/vnd.ms-office.chartstyle+xml"/>
  <Override PartName="/ppt/charts/style424.xml" ContentType="application/vnd.ms-office.chartstyle+xml"/>
  <Override PartName="/ppt/charts/style425.xml" ContentType="application/vnd.ms-office.chartstyle+xml"/>
  <Override PartName="/ppt/charts/style426.xml" ContentType="application/vnd.ms-office.chartstyle+xml"/>
  <Override PartName="/ppt/charts/style427.xml" ContentType="application/vnd.ms-office.chartstyle+xml"/>
  <Override PartName="/ppt/charts/style428.xml" ContentType="application/vnd.ms-office.chartstyle+xml"/>
  <Override PartName="/ppt/charts/style429.xml" ContentType="application/vnd.ms-office.chartstyle+xml"/>
  <Override PartName="/ppt/charts/style43.xml" ContentType="application/vnd.ms-office.chartstyle+xml"/>
  <Override PartName="/ppt/charts/style430.xml" ContentType="application/vnd.ms-office.chartstyle+xml"/>
  <Override PartName="/ppt/charts/style431.xml" ContentType="application/vnd.ms-office.chartstyle+xml"/>
  <Override PartName="/ppt/charts/style432.xml" ContentType="application/vnd.ms-office.chartstyle+xml"/>
  <Override PartName="/ppt/charts/style433.xml" ContentType="application/vnd.ms-office.chartstyle+xml"/>
  <Override PartName="/ppt/charts/style434.xml" ContentType="application/vnd.ms-office.chartstyle+xml"/>
  <Override PartName="/ppt/charts/style435.xml" ContentType="application/vnd.ms-office.chartstyle+xml"/>
  <Override PartName="/ppt/charts/style436.xml" ContentType="application/vnd.ms-office.chartstyle+xml"/>
  <Override PartName="/ppt/charts/style437.xml" ContentType="application/vnd.ms-office.chartstyle+xml"/>
  <Override PartName="/ppt/charts/style438.xml" ContentType="application/vnd.ms-office.chartstyle+xml"/>
  <Override PartName="/ppt/charts/style439.xml" ContentType="application/vnd.ms-office.chartstyle+xml"/>
  <Override PartName="/ppt/charts/style44.xml" ContentType="application/vnd.ms-office.chartstyle+xml"/>
  <Override PartName="/ppt/charts/style440.xml" ContentType="application/vnd.ms-office.chartstyle+xml"/>
  <Override PartName="/ppt/charts/style441.xml" ContentType="application/vnd.ms-office.chartstyle+xml"/>
  <Override PartName="/ppt/charts/style442.xml" ContentType="application/vnd.ms-office.chartstyle+xml"/>
  <Override PartName="/ppt/charts/style443.xml" ContentType="application/vnd.ms-office.chartstyle+xml"/>
  <Override PartName="/ppt/charts/style444.xml" ContentType="application/vnd.ms-office.chartstyle+xml"/>
  <Override PartName="/ppt/charts/style445.xml" ContentType="application/vnd.ms-office.chartstyle+xml"/>
  <Override PartName="/ppt/charts/style446.xml" ContentType="application/vnd.ms-office.chartstyle+xml"/>
  <Override PartName="/ppt/charts/style447.xml" ContentType="application/vnd.ms-office.chartstyle+xml"/>
  <Override PartName="/ppt/charts/style448.xml" ContentType="application/vnd.ms-office.chartstyle+xml"/>
  <Override PartName="/ppt/charts/style449.xml" ContentType="application/vnd.ms-office.chartstyle+xml"/>
  <Override PartName="/ppt/charts/style45.xml" ContentType="application/vnd.ms-office.chartstyle+xml"/>
  <Override PartName="/ppt/charts/style450.xml" ContentType="application/vnd.ms-office.chartstyle+xml"/>
  <Override PartName="/ppt/charts/style451.xml" ContentType="application/vnd.ms-office.chartstyle+xml"/>
  <Override PartName="/ppt/charts/style452.xml" ContentType="application/vnd.ms-office.chartstyle+xml"/>
  <Override PartName="/ppt/charts/style453.xml" ContentType="application/vnd.ms-office.chartstyle+xml"/>
  <Override PartName="/ppt/charts/style454.xml" ContentType="application/vnd.ms-office.chartstyle+xml"/>
  <Override PartName="/ppt/charts/style455.xml" ContentType="application/vnd.ms-office.chartstyle+xml"/>
  <Override PartName="/ppt/charts/style456.xml" ContentType="application/vnd.ms-office.chartstyle+xml"/>
  <Override PartName="/ppt/charts/style457.xml" ContentType="application/vnd.ms-office.chartstyle+xml"/>
  <Override PartName="/ppt/charts/style458.xml" ContentType="application/vnd.ms-office.chartstyle+xml"/>
  <Override PartName="/ppt/charts/style459.xml" ContentType="application/vnd.ms-office.chartstyle+xml"/>
  <Override PartName="/ppt/charts/style46.xml" ContentType="application/vnd.ms-office.chartstyle+xml"/>
  <Override PartName="/ppt/charts/style460.xml" ContentType="application/vnd.ms-office.chartstyle+xml"/>
  <Override PartName="/ppt/charts/style461.xml" ContentType="application/vnd.ms-office.chartstyle+xml"/>
  <Override PartName="/ppt/charts/style462.xml" ContentType="application/vnd.ms-office.chartstyle+xml"/>
  <Override PartName="/ppt/charts/style463.xml" ContentType="application/vnd.ms-office.chartstyle+xml"/>
  <Override PartName="/ppt/charts/style464.xml" ContentType="application/vnd.ms-office.chartstyle+xml"/>
  <Override PartName="/ppt/charts/style465.xml" ContentType="application/vnd.ms-office.chartstyle+xml"/>
  <Override PartName="/ppt/charts/style466.xml" ContentType="application/vnd.ms-office.chartstyle+xml"/>
  <Override PartName="/ppt/charts/style467.xml" ContentType="application/vnd.ms-office.chartstyle+xml"/>
  <Override PartName="/ppt/charts/style468.xml" ContentType="application/vnd.ms-office.chartstyle+xml"/>
  <Override PartName="/ppt/charts/style469.xml" ContentType="application/vnd.ms-office.chartstyle+xml"/>
  <Override PartName="/ppt/charts/style47.xml" ContentType="application/vnd.ms-office.chartstyle+xml"/>
  <Override PartName="/ppt/charts/style470.xml" ContentType="application/vnd.ms-office.chartstyle+xml"/>
  <Override PartName="/ppt/charts/style471.xml" ContentType="application/vnd.ms-office.chartstyle+xml"/>
  <Override PartName="/ppt/charts/style472.xml" ContentType="application/vnd.ms-office.chartstyle+xml"/>
  <Override PartName="/ppt/charts/style473.xml" ContentType="application/vnd.ms-office.chartstyle+xml"/>
  <Override PartName="/ppt/charts/style474.xml" ContentType="application/vnd.ms-office.chartstyle+xml"/>
  <Override PartName="/ppt/charts/style475.xml" ContentType="application/vnd.ms-office.chartstyle+xml"/>
  <Override PartName="/ppt/charts/style476.xml" ContentType="application/vnd.ms-office.chartstyle+xml"/>
  <Override PartName="/ppt/charts/style477.xml" ContentType="application/vnd.ms-office.chartstyle+xml"/>
  <Override PartName="/ppt/charts/style478.xml" ContentType="application/vnd.ms-office.chartstyle+xml"/>
  <Override PartName="/ppt/charts/style479.xml" ContentType="application/vnd.ms-office.chartstyle+xml"/>
  <Override PartName="/ppt/charts/style48.xml" ContentType="application/vnd.ms-office.chartstyle+xml"/>
  <Override PartName="/ppt/charts/style480.xml" ContentType="application/vnd.ms-office.chartstyle+xml"/>
  <Override PartName="/ppt/charts/style481.xml" ContentType="application/vnd.ms-office.chartstyle+xml"/>
  <Override PartName="/ppt/charts/style482.xml" ContentType="application/vnd.ms-office.chartstyle+xml"/>
  <Override PartName="/ppt/charts/style483.xml" ContentType="application/vnd.ms-office.chartstyle+xml"/>
  <Override PartName="/ppt/charts/style484.xml" ContentType="application/vnd.ms-office.chartstyle+xml"/>
  <Override PartName="/ppt/charts/style485.xml" ContentType="application/vnd.ms-office.chartstyle+xml"/>
  <Override PartName="/ppt/charts/style486.xml" ContentType="application/vnd.ms-office.chartstyle+xml"/>
  <Override PartName="/ppt/charts/style487.xml" ContentType="application/vnd.ms-office.chartstyle+xml"/>
  <Override PartName="/ppt/charts/style488.xml" ContentType="application/vnd.ms-office.chartstyle+xml"/>
  <Override PartName="/ppt/charts/style489.xml" ContentType="application/vnd.ms-office.chartstyle+xml"/>
  <Override PartName="/ppt/charts/style49.xml" ContentType="application/vnd.ms-office.chartstyle+xml"/>
  <Override PartName="/ppt/charts/style490.xml" ContentType="application/vnd.ms-office.chartstyle+xml"/>
  <Override PartName="/ppt/charts/style491.xml" ContentType="application/vnd.ms-office.chartstyle+xml"/>
  <Override PartName="/ppt/charts/style492.xml" ContentType="application/vnd.ms-office.chartstyle+xml"/>
  <Override PartName="/ppt/charts/style493.xml" ContentType="application/vnd.ms-office.chartstyle+xml"/>
  <Override PartName="/ppt/charts/style494.xml" ContentType="application/vnd.ms-office.chartstyle+xml"/>
  <Override PartName="/ppt/charts/style495.xml" ContentType="application/vnd.ms-office.chartstyle+xml"/>
  <Override PartName="/ppt/charts/style496.xml" ContentType="application/vnd.ms-office.chartstyle+xml"/>
  <Override PartName="/ppt/charts/style497.xml" ContentType="application/vnd.ms-office.chartstyle+xml"/>
  <Override PartName="/ppt/charts/style498.xml" ContentType="application/vnd.ms-office.chartstyle+xml"/>
  <Override PartName="/ppt/charts/style499.xml" ContentType="application/vnd.ms-office.chartstyle+xml"/>
  <Override PartName="/ppt/charts/style5.xml" ContentType="application/vnd.ms-office.chartstyle+xml"/>
  <Override PartName="/ppt/charts/style50.xml" ContentType="application/vnd.ms-office.chartstyle+xml"/>
  <Override PartName="/ppt/charts/style500.xml" ContentType="application/vnd.ms-office.chartstyle+xml"/>
  <Override PartName="/ppt/charts/style501.xml" ContentType="application/vnd.ms-office.chartstyle+xml"/>
  <Override PartName="/ppt/charts/style502.xml" ContentType="application/vnd.ms-office.chartstyle+xml"/>
  <Override PartName="/ppt/charts/style503.xml" ContentType="application/vnd.ms-office.chartstyle+xml"/>
  <Override PartName="/ppt/charts/style504.xml" ContentType="application/vnd.ms-office.chartstyle+xml"/>
  <Override PartName="/ppt/charts/style505.xml" ContentType="application/vnd.ms-office.chartstyle+xml"/>
  <Override PartName="/ppt/charts/style506.xml" ContentType="application/vnd.ms-office.chartstyle+xml"/>
  <Override PartName="/ppt/charts/style507.xml" ContentType="application/vnd.ms-office.chartstyle+xml"/>
  <Override PartName="/ppt/charts/style508.xml" ContentType="application/vnd.ms-office.chartstyle+xml"/>
  <Override PartName="/ppt/charts/style509.xml" ContentType="application/vnd.ms-office.chartstyle+xml"/>
  <Override PartName="/ppt/charts/style51.xml" ContentType="application/vnd.ms-office.chartstyle+xml"/>
  <Override PartName="/ppt/charts/style510.xml" ContentType="application/vnd.ms-office.chartstyle+xml"/>
  <Override PartName="/ppt/charts/style511.xml" ContentType="application/vnd.ms-office.chartstyle+xml"/>
  <Override PartName="/ppt/charts/style512.xml" ContentType="application/vnd.ms-office.chartstyle+xml"/>
  <Override PartName="/ppt/charts/style513.xml" ContentType="application/vnd.ms-office.chartstyle+xml"/>
  <Override PartName="/ppt/charts/style514.xml" ContentType="application/vnd.ms-office.chartstyle+xml"/>
  <Override PartName="/ppt/charts/style515.xml" ContentType="application/vnd.ms-office.chartstyle+xml"/>
  <Override PartName="/ppt/charts/style516.xml" ContentType="application/vnd.ms-office.chartstyle+xml"/>
  <Override PartName="/ppt/charts/style517.xml" ContentType="application/vnd.ms-office.chartstyle+xml"/>
  <Override PartName="/ppt/charts/style518.xml" ContentType="application/vnd.ms-office.chartstyle+xml"/>
  <Override PartName="/ppt/charts/style519.xml" ContentType="application/vnd.ms-office.chartstyle+xml"/>
  <Override PartName="/ppt/charts/style52.xml" ContentType="application/vnd.ms-office.chartstyle+xml"/>
  <Override PartName="/ppt/charts/style520.xml" ContentType="application/vnd.ms-office.chartstyle+xml"/>
  <Override PartName="/ppt/charts/style521.xml" ContentType="application/vnd.ms-office.chartstyle+xml"/>
  <Override PartName="/ppt/charts/style522.xml" ContentType="application/vnd.ms-office.chartstyle+xml"/>
  <Override PartName="/ppt/charts/style523.xml" ContentType="application/vnd.ms-office.chartstyle+xml"/>
  <Override PartName="/ppt/charts/style524.xml" ContentType="application/vnd.ms-office.chartstyle+xml"/>
  <Override PartName="/ppt/charts/style525.xml" ContentType="application/vnd.ms-office.chartstyle+xml"/>
  <Override PartName="/ppt/charts/style526.xml" ContentType="application/vnd.ms-office.chartstyle+xml"/>
  <Override PartName="/ppt/charts/style527.xml" ContentType="application/vnd.ms-office.chartstyle+xml"/>
  <Override PartName="/ppt/charts/style528.xml" ContentType="application/vnd.ms-office.chartstyle+xml"/>
  <Override PartName="/ppt/charts/style529.xml" ContentType="application/vnd.ms-office.chartstyle+xml"/>
  <Override PartName="/ppt/charts/style53.xml" ContentType="application/vnd.ms-office.chartstyle+xml"/>
  <Override PartName="/ppt/charts/style530.xml" ContentType="application/vnd.ms-office.chartstyle+xml"/>
  <Override PartName="/ppt/charts/style531.xml" ContentType="application/vnd.ms-office.chartstyle+xml"/>
  <Override PartName="/ppt/charts/style532.xml" ContentType="application/vnd.ms-office.chartstyle+xml"/>
  <Override PartName="/ppt/charts/style533.xml" ContentType="application/vnd.ms-office.chartstyle+xml"/>
  <Override PartName="/ppt/charts/style534.xml" ContentType="application/vnd.ms-office.chartstyle+xml"/>
  <Override PartName="/ppt/charts/style535.xml" ContentType="application/vnd.ms-office.chartstyle+xml"/>
  <Override PartName="/ppt/charts/style536.xml" ContentType="application/vnd.ms-office.chartstyle+xml"/>
  <Override PartName="/ppt/charts/style537.xml" ContentType="application/vnd.ms-office.chartstyle+xml"/>
  <Override PartName="/ppt/charts/style538.xml" ContentType="application/vnd.ms-office.chartstyle+xml"/>
  <Override PartName="/ppt/charts/style539.xml" ContentType="application/vnd.ms-office.chartstyle+xml"/>
  <Override PartName="/ppt/charts/style54.xml" ContentType="application/vnd.ms-office.chartstyle+xml"/>
  <Override PartName="/ppt/charts/style540.xml" ContentType="application/vnd.ms-office.chartstyle+xml"/>
  <Override PartName="/ppt/charts/style541.xml" ContentType="application/vnd.ms-office.chartstyle+xml"/>
  <Override PartName="/ppt/charts/style542.xml" ContentType="application/vnd.ms-office.chartstyle+xml"/>
  <Override PartName="/ppt/charts/style543.xml" ContentType="application/vnd.ms-office.chartstyle+xml"/>
  <Override PartName="/ppt/charts/style544.xml" ContentType="application/vnd.ms-office.chartstyle+xml"/>
  <Override PartName="/ppt/charts/style545.xml" ContentType="application/vnd.ms-office.chartstyle+xml"/>
  <Override PartName="/ppt/charts/style546.xml" ContentType="application/vnd.ms-office.chartstyle+xml"/>
  <Override PartName="/ppt/charts/style547.xml" ContentType="application/vnd.ms-office.chartstyle+xml"/>
  <Override PartName="/ppt/charts/style548.xml" ContentType="application/vnd.ms-office.chartstyle+xml"/>
  <Override PartName="/ppt/charts/style549.xml" ContentType="application/vnd.ms-office.chartstyle+xml"/>
  <Override PartName="/ppt/charts/style55.xml" ContentType="application/vnd.ms-office.chartstyle+xml"/>
  <Override PartName="/ppt/charts/style550.xml" ContentType="application/vnd.ms-office.chartstyle+xml"/>
  <Override PartName="/ppt/charts/style551.xml" ContentType="application/vnd.ms-office.chartstyle+xml"/>
  <Override PartName="/ppt/charts/style552.xml" ContentType="application/vnd.ms-office.chartstyle+xml"/>
  <Override PartName="/ppt/charts/style553.xml" ContentType="application/vnd.ms-office.chartstyle+xml"/>
  <Override PartName="/ppt/charts/style554.xml" ContentType="application/vnd.ms-office.chartstyle+xml"/>
  <Override PartName="/ppt/charts/style555.xml" ContentType="application/vnd.ms-office.chartstyle+xml"/>
  <Override PartName="/ppt/charts/style556.xml" ContentType="application/vnd.ms-office.chartstyle+xml"/>
  <Override PartName="/ppt/charts/style557.xml" ContentType="application/vnd.ms-office.chartstyle+xml"/>
  <Override PartName="/ppt/charts/style558.xml" ContentType="application/vnd.ms-office.chartstyle+xml"/>
  <Override PartName="/ppt/charts/style559.xml" ContentType="application/vnd.ms-office.chartstyle+xml"/>
  <Override PartName="/ppt/charts/style56.xml" ContentType="application/vnd.ms-office.chartstyle+xml"/>
  <Override PartName="/ppt/charts/style560.xml" ContentType="application/vnd.ms-office.chartstyle+xml"/>
  <Override PartName="/ppt/charts/style561.xml" ContentType="application/vnd.ms-office.chartstyle+xml"/>
  <Override PartName="/ppt/charts/style562.xml" ContentType="application/vnd.ms-office.chartstyle+xml"/>
  <Override PartName="/ppt/charts/style563.xml" ContentType="application/vnd.ms-office.chartstyle+xml"/>
  <Override PartName="/ppt/charts/style564.xml" ContentType="application/vnd.ms-office.chartstyle+xml"/>
  <Override PartName="/ppt/charts/style565.xml" ContentType="application/vnd.ms-office.chartstyle+xml"/>
  <Override PartName="/ppt/charts/style566.xml" ContentType="application/vnd.ms-office.chartstyle+xml"/>
  <Override PartName="/ppt/charts/style567.xml" ContentType="application/vnd.ms-office.chartstyle+xml"/>
  <Override PartName="/ppt/charts/style568.xml" ContentType="application/vnd.ms-office.chartstyle+xml"/>
  <Override PartName="/ppt/charts/style569.xml" ContentType="application/vnd.ms-office.chartstyle+xml"/>
  <Override PartName="/ppt/charts/style57.xml" ContentType="application/vnd.ms-office.chartstyle+xml"/>
  <Override PartName="/ppt/charts/style570.xml" ContentType="application/vnd.ms-office.chartstyle+xml"/>
  <Override PartName="/ppt/charts/style571.xml" ContentType="application/vnd.ms-office.chartstyle+xml"/>
  <Override PartName="/ppt/charts/style572.xml" ContentType="application/vnd.ms-office.chartstyle+xml"/>
  <Override PartName="/ppt/charts/style573.xml" ContentType="application/vnd.ms-office.chartstyle+xml"/>
  <Override PartName="/ppt/charts/style574.xml" ContentType="application/vnd.ms-office.chartstyle+xml"/>
  <Override PartName="/ppt/charts/style575.xml" ContentType="application/vnd.ms-office.chartstyle+xml"/>
  <Override PartName="/ppt/charts/style576.xml" ContentType="application/vnd.ms-office.chartstyle+xml"/>
  <Override PartName="/ppt/charts/style577.xml" ContentType="application/vnd.ms-office.chartstyle+xml"/>
  <Override PartName="/ppt/charts/style578.xml" ContentType="application/vnd.ms-office.chartstyle+xml"/>
  <Override PartName="/ppt/charts/style579.xml" ContentType="application/vnd.ms-office.chartstyle+xml"/>
  <Override PartName="/ppt/charts/style58.xml" ContentType="application/vnd.ms-office.chartstyle+xml"/>
  <Override PartName="/ppt/charts/style580.xml" ContentType="application/vnd.ms-office.chartstyle+xml"/>
  <Override PartName="/ppt/charts/style581.xml" ContentType="application/vnd.ms-office.chartstyle+xml"/>
  <Override PartName="/ppt/charts/style582.xml" ContentType="application/vnd.ms-office.chartstyle+xml"/>
  <Override PartName="/ppt/charts/style583.xml" ContentType="application/vnd.ms-office.chartstyle+xml"/>
  <Override PartName="/ppt/charts/style584.xml" ContentType="application/vnd.ms-office.chartstyle+xml"/>
  <Override PartName="/ppt/charts/style585.xml" ContentType="application/vnd.ms-office.chartstyle+xml"/>
  <Override PartName="/ppt/charts/style586.xml" ContentType="application/vnd.ms-office.chartstyle+xml"/>
  <Override PartName="/ppt/charts/style587.xml" ContentType="application/vnd.ms-office.chartstyle+xml"/>
  <Override PartName="/ppt/charts/style588.xml" ContentType="application/vnd.ms-office.chartstyle+xml"/>
  <Override PartName="/ppt/charts/style589.xml" ContentType="application/vnd.ms-office.chartstyle+xml"/>
  <Override PartName="/ppt/charts/style59.xml" ContentType="application/vnd.ms-office.chartstyle+xml"/>
  <Override PartName="/ppt/charts/style590.xml" ContentType="application/vnd.ms-office.chartstyle+xml"/>
  <Override PartName="/ppt/charts/style591.xml" ContentType="application/vnd.ms-office.chartstyle+xml"/>
  <Override PartName="/ppt/charts/style592.xml" ContentType="application/vnd.ms-office.chartstyle+xml"/>
  <Override PartName="/ppt/charts/style593.xml" ContentType="application/vnd.ms-office.chartstyle+xml"/>
  <Override PartName="/ppt/charts/style594.xml" ContentType="application/vnd.ms-office.chartstyle+xml"/>
  <Override PartName="/ppt/charts/style595.xml" ContentType="application/vnd.ms-office.chartstyle+xml"/>
  <Override PartName="/ppt/charts/style596.xml" ContentType="application/vnd.ms-office.chartstyle+xml"/>
  <Override PartName="/ppt/charts/style597.xml" ContentType="application/vnd.ms-office.chartstyle+xml"/>
  <Override PartName="/ppt/charts/style598.xml" ContentType="application/vnd.ms-office.chartstyle+xml"/>
  <Override PartName="/ppt/charts/style599.xml" ContentType="application/vnd.ms-office.chartstyle+xml"/>
  <Override PartName="/ppt/charts/style6.xml" ContentType="application/vnd.ms-office.chartstyle+xml"/>
  <Override PartName="/ppt/charts/style60.xml" ContentType="application/vnd.ms-office.chartstyle+xml"/>
  <Override PartName="/ppt/charts/style600.xml" ContentType="application/vnd.ms-office.chartstyle+xml"/>
  <Override PartName="/ppt/charts/style601.xml" ContentType="application/vnd.ms-office.chartstyle+xml"/>
  <Override PartName="/ppt/charts/style602.xml" ContentType="application/vnd.ms-office.chartstyle+xml"/>
  <Override PartName="/ppt/charts/style603.xml" ContentType="application/vnd.ms-office.chartstyle+xml"/>
  <Override PartName="/ppt/charts/style604.xml" ContentType="application/vnd.ms-office.chartstyle+xml"/>
  <Override PartName="/ppt/charts/style605.xml" ContentType="application/vnd.ms-office.chartstyle+xml"/>
  <Override PartName="/ppt/charts/style606.xml" ContentType="application/vnd.ms-office.chartstyle+xml"/>
  <Override PartName="/ppt/charts/style607.xml" ContentType="application/vnd.ms-office.chartstyle+xml"/>
  <Override PartName="/ppt/charts/style608.xml" ContentType="application/vnd.ms-office.chartstyle+xml"/>
  <Override PartName="/ppt/charts/style609.xml" ContentType="application/vnd.ms-office.chartstyle+xml"/>
  <Override PartName="/ppt/charts/style61.xml" ContentType="application/vnd.ms-office.chartstyle+xml"/>
  <Override PartName="/ppt/charts/style610.xml" ContentType="application/vnd.ms-office.chartstyle+xml"/>
  <Override PartName="/ppt/charts/style611.xml" ContentType="application/vnd.ms-office.chartstyle+xml"/>
  <Override PartName="/ppt/charts/style612.xml" ContentType="application/vnd.ms-office.chartstyle+xml"/>
  <Override PartName="/ppt/charts/style613.xml" ContentType="application/vnd.ms-office.chartstyle+xml"/>
  <Override PartName="/ppt/charts/style614.xml" ContentType="application/vnd.ms-office.chartstyle+xml"/>
  <Override PartName="/ppt/charts/style615.xml" ContentType="application/vnd.ms-office.chartstyle+xml"/>
  <Override PartName="/ppt/charts/style616.xml" ContentType="application/vnd.ms-office.chartstyle+xml"/>
  <Override PartName="/ppt/charts/style617.xml" ContentType="application/vnd.ms-office.chartstyle+xml"/>
  <Override PartName="/ppt/charts/style618.xml" ContentType="application/vnd.ms-office.chartstyle+xml"/>
  <Override PartName="/ppt/charts/style619.xml" ContentType="application/vnd.ms-office.chartstyle+xml"/>
  <Override PartName="/ppt/charts/style62.xml" ContentType="application/vnd.ms-office.chartstyle+xml"/>
  <Override PartName="/ppt/charts/style620.xml" ContentType="application/vnd.ms-office.chartstyle+xml"/>
  <Override PartName="/ppt/charts/style621.xml" ContentType="application/vnd.ms-office.chartstyle+xml"/>
  <Override PartName="/ppt/charts/style622.xml" ContentType="application/vnd.ms-office.chartstyle+xml"/>
  <Override PartName="/ppt/charts/style623.xml" ContentType="application/vnd.ms-office.chartstyle+xml"/>
  <Override PartName="/ppt/charts/style624.xml" ContentType="application/vnd.ms-office.chartstyle+xml"/>
  <Override PartName="/ppt/charts/style625.xml" ContentType="application/vnd.ms-office.chartstyle+xml"/>
  <Override PartName="/ppt/charts/style626.xml" ContentType="application/vnd.ms-office.chartstyle+xml"/>
  <Override PartName="/ppt/charts/style627.xml" ContentType="application/vnd.ms-office.chartstyle+xml"/>
  <Override PartName="/ppt/charts/style628.xml" ContentType="application/vnd.ms-office.chartstyle+xml"/>
  <Override PartName="/ppt/charts/style629.xml" ContentType="application/vnd.ms-office.chartstyle+xml"/>
  <Override PartName="/ppt/charts/style63.xml" ContentType="application/vnd.ms-office.chartstyle+xml"/>
  <Override PartName="/ppt/charts/style630.xml" ContentType="application/vnd.ms-office.chartstyle+xml"/>
  <Override PartName="/ppt/charts/style631.xml" ContentType="application/vnd.ms-office.chartstyle+xml"/>
  <Override PartName="/ppt/charts/style632.xml" ContentType="application/vnd.ms-office.chartstyle+xml"/>
  <Override PartName="/ppt/charts/style633.xml" ContentType="application/vnd.ms-office.chartstyle+xml"/>
  <Override PartName="/ppt/charts/style634.xml" ContentType="application/vnd.ms-office.chartstyle+xml"/>
  <Override PartName="/ppt/charts/style635.xml" ContentType="application/vnd.ms-office.chartstyle+xml"/>
  <Override PartName="/ppt/charts/style636.xml" ContentType="application/vnd.ms-office.chartstyle+xml"/>
  <Override PartName="/ppt/charts/style637.xml" ContentType="application/vnd.ms-office.chartstyle+xml"/>
  <Override PartName="/ppt/charts/style638.xml" ContentType="application/vnd.ms-office.chartstyle+xml"/>
  <Override PartName="/ppt/charts/style639.xml" ContentType="application/vnd.ms-office.chartstyle+xml"/>
  <Override PartName="/ppt/charts/style64.xml" ContentType="application/vnd.ms-office.chartstyle+xml"/>
  <Override PartName="/ppt/charts/style640.xml" ContentType="application/vnd.ms-office.chartstyle+xml"/>
  <Override PartName="/ppt/charts/style641.xml" ContentType="application/vnd.ms-office.chartstyle+xml"/>
  <Override PartName="/ppt/charts/style642.xml" ContentType="application/vnd.ms-office.chartstyle+xml"/>
  <Override PartName="/ppt/charts/style643.xml" ContentType="application/vnd.ms-office.chartstyle+xml"/>
  <Override PartName="/ppt/charts/style644.xml" ContentType="application/vnd.ms-office.chartstyle+xml"/>
  <Override PartName="/ppt/charts/style645.xml" ContentType="application/vnd.ms-office.chartstyle+xml"/>
  <Override PartName="/ppt/charts/style646.xml" ContentType="application/vnd.ms-office.chartstyle+xml"/>
  <Override PartName="/ppt/charts/style647.xml" ContentType="application/vnd.ms-office.chartstyle+xml"/>
  <Override PartName="/ppt/charts/style648.xml" ContentType="application/vnd.ms-office.chartstyle+xml"/>
  <Override PartName="/ppt/charts/style649.xml" ContentType="application/vnd.ms-office.chartstyle+xml"/>
  <Override PartName="/ppt/charts/style65.xml" ContentType="application/vnd.ms-office.chartstyle+xml"/>
  <Override PartName="/ppt/charts/style650.xml" ContentType="application/vnd.ms-office.chartstyle+xml"/>
  <Override PartName="/ppt/charts/style651.xml" ContentType="application/vnd.ms-office.chartstyle+xml"/>
  <Override PartName="/ppt/charts/style652.xml" ContentType="application/vnd.ms-office.chartstyle+xml"/>
  <Override PartName="/ppt/charts/style653.xml" ContentType="application/vnd.ms-office.chartstyle+xml"/>
  <Override PartName="/ppt/charts/style654.xml" ContentType="application/vnd.ms-office.chartstyle+xml"/>
  <Override PartName="/ppt/charts/style655.xml" ContentType="application/vnd.ms-office.chartstyle+xml"/>
  <Override PartName="/ppt/charts/style656.xml" ContentType="application/vnd.ms-office.chartstyle+xml"/>
  <Override PartName="/ppt/charts/style657.xml" ContentType="application/vnd.ms-office.chartstyle+xml"/>
  <Override PartName="/ppt/charts/style658.xml" ContentType="application/vnd.ms-office.chartstyle+xml"/>
  <Override PartName="/ppt/charts/style659.xml" ContentType="application/vnd.ms-office.chartstyle+xml"/>
  <Override PartName="/ppt/charts/style66.xml" ContentType="application/vnd.ms-office.chartstyle+xml"/>
  <Override PartName="/ppt/charts/style660.xml" ContentType="application/vnd.ms-office.chartstyle+xml"/>
  <Override PartName="/ppt/charts/style661.xml" ContentType="application/vnd.ms-office.chartstyle+xml"/>
  <Override PartName="/ppt/charts/style662.xml" ContentType="application/vnd.ms-office.chartstyle+xml"/>
  <Override PartName="/ppt/charts/style663.xml" ContentType="application/vnd.ms-office.chartstyle+xml"/>
  <Override PartName="/ppt/charts/style664.xml" ContentType="application/vnd.ms-office.chartstyle+xml"/>
  <Override PartName="/ppt/charts/style665.xml" ContentType="application/vnd.ms-office.chartstyle+xml"/>
  <Override PartName="/ppt/charts/style666.xml" ContentType="application/vnd.ms-office.chartstyle+xml"/>
  <Override PartName="/ppt/charts/style667.xml" ContentType="application/vnd.ms-office.chartstyle+xml"/>
  <Override PartName="/ppt/charts/style668.xml" ContentType="application/vnd.ms-office.chartstyle+xml"/>
  <Override PartName="/ppt/charts/style669.xml" ContentType="application/vnd.ms-office.chartstyle+xml"/>
  <Override PartName="/ppt/charts/style67.xml" ContentType="application/vnd.ms-office.chartstyle+xml"/>
  <Override PartName="/ppt/charts/style670.xml" ContentType="application/vnd.ms-office.chartstyle+xml"/>
  <Override PartName="/ppt/charts/style671.xml" ContentType="application/vnd.ms-office.chartstyle+xml"/>
  <Override PartName="/ppt/charts/style672.xml" ContentType="application/vnd.ms-office.chartstyle+xml"/>
  <Override PartName="/ppt/charts/style673.xml" ContentType="application/vnd.ms-office.chartstyle+xml"/>
  <Override PartName="/ppt/charts/style674.xml" ContentType="application/vnd.ms-office.chartstyle+xml"/>
  <Override PartName="/ppt/charts/style675.xml" ContentType="application/vnd.ms-office.chartstyle+xml"/>
  <Override PartName="/ppt/charts/style676.xml" ContentType="application/vnd.ms-office.chartstyle+xml"/>
  <Override PartName="/ppt/charts/style677.xml" ContentType="application/vnd.ms-office.chartstyle+xml"/>
  <Override PartName="/ppt/charts/style678.xml" ContentType="application/vnd.ms-office.chartstyle+xml"/>
  <Override PartName="/ppt/charts/style679.xml" ContentType="application/vnd.ms-office.chartstyle+xml"/>
  <Override PartName="/ppt/charts/style68.xml" ContentType="application/vnd.ms-office.chartstyle+xml"/>
  <Override PartName="/ppt/charts/style680.xml" ContentType="application/vnd.ms-office.chartstyle+xml"/>
  <Override PartName="/ppt/charts/style681.xml" ContentType="application/vnd.ms-office.chartstyle+xml"/>
  <Override PartName="/ppt/charts/style682.xml" ContentType="application/vnd.ms-office.chartstyle+xml"/>
  <Override PartName="/ppt/charts/style683.xml" ContentType="application/vnd.ms-office.chartstyle+xml"/>
  <Override PartName="/ppt/charts/style684.xml" ContentType="application/vnd.ms-office.chartstyle+xml"/>
  <Override PartName="/ppt/charts/style685.xml" ContentType="application/vnd.ms-office.chartstyle+xml"/>
  <Override PartName="/ppt/charts/style686.xml" ContentType="application/vnd.ms-office.chartstyle+xml"/>
  <Override PartName="/ppt/charts/style687.xml" ContentType="application/vnd.ms-office.chartstyle+xml"/>
  <Override PartName="/ppt/charts/style688.xml" ContentType="application/vnd.ms-office.chartstyle+xml"/>
  <Override PartName="/ppt/charts/style689.xml" ContentType="application/vnd.ms-office.chartstyle+xml"/>
  <Override PartName="/ppt/charts/style69.xml" ContentType="application/vnd.ms-office.chartstyle+xml"/>
  <Override PartName="/ppt/charts/style690.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570"/>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7B91F22B-7DB6-4F60-878F-95A47483AE92}">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Lst>
        </p14:section>
        <p14:section name="Share Evolution By Manuf" id="{28FFE05D-F99F-4156-822A-B61ECEB3E367}">
          <p14:sldIdLst>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Lst>
        </p14:section>
        <p14:section name="Share Evolution By Brand" id="{5F32B499-DCEE-4A50-8D99-8B8B5E3C6D96}">
          <p14:sldIdLst>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Lst>
        </p14:section>
        <p14:section name="Category Overview" id="{A57831D4-F6D5-4A1E-9403-3C254714293F}">
          <p14:sldIdLst>
            <p14:sldId id="2147475721"/>
            <p14:sldId id="2147475722"/>
            <p14:sldId id="2147475723"/>
            <p14:sldId id="2147475724"/>
            <p14:sldId id="2147475725"/>
            <p14:sldId id="2147475726"/>
            <p14:sldId id="2147475727"/>
            <p14:sldId id="2147475728"/>
            <p14:sldId id="2147475729"/>
            <p14:sldId id="214747573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revisionInfo.xml><?xml version="1.0" encoding="utf-8"?>
<p1510:revInfo xmlns:a="http://schemas.openxmlformats.org/drawingml/2006/main" xmlns:r="http://schemas.openxmlformats.org/officeDocument/2006/relationships" xmlns:p1510="http://schemas.microsoft.com/office/powerpoint/2015/10/main">
  <p1510:revLst>
    <p1510:client id="{49E1EDC4-949C-4C9A-9207-A653EB98B0DF}" v="1549" dt="2024-11-19T09:09:44.4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notesMaster" Target="notesMasters/notesMaster1.xml"/><Relationship Id="rId571" Type="http://schemas.openxmlformats.org/officeDocument/2006/relationships/presProps" Target="presProps.xml"/><Relationship Id="rId572" Type="http://schemas.openxmlformats.org/officeDocument/2006/relationships/viewProps" Target="viewProps.xml"/><Relationship Id="rId573" Type="http://schemas.openxmlformats.org/officeDocument/2006/relationships/theme" Target="theme/theme1.xml"/><Relationship Id="rId574" Type="http://schemas.openxmlformats.org/officeDocument/2006/relationships/tableStyles" Target="tableStyles.xml"/><Relationship Id="rId575" Type="http://schemas.microsoft.com/office/2015/10/relationships/revisionInfo" Target="revisionInfo.xml"/><Relationship Id="rId576" Type="http://schemas.microsoft.com/office/2018/10/relationships/authors" Target="authors.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222.xlsx"/></Relationships>
</file>

<file path=ppt/charts/_rels/chart226.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226.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44.xlsx"/></Relationships>
</file>

<file path=ppt/charts/_rels/chart248.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2.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58.xlsx"/></Relationships>
</file>

<file path=ppt/charts/_rels/chart260.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62.xlsx"/></Relationships>
</file>

<file path=ppt/charts/_rels/chart266.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26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70.xlsx"/></Relationships>
</file>

<file path=ppt/charts/_rels/chart274.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84.xlsx"/></Relationships>
</file>

<file path=ppt/charts/_rels/chart288.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2.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92.xlsx"/></Relationships>
</file>

<file path=ppt/charts/_rels/chart296.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306.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2.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46.xlsx"/></Relationships>
</file>

<file path=ppt/charts/_rels/chart350.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350.xlsx"/></Relationships>
</file>

<file path=ppt/charts/_rels/chart354.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354.xlsx"/></Relationships>
</file>

<file path=ppt/charts/_rels/chart358.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368.xlsx"/></Relationships>
</file>

<file path=ppt/charts/_rels/chart372.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372.xlsx"/></Relationships>
</file>

<file path=ppt/charts/_rels/chart376.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2.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382.xlsx"/></Relationships>
</file>

<file path=ppt/charts/_rels/chart386.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396.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400.xlsx"/></Relationships>
</file>

<file path=ppt/charts/_rels/chart404.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404.xlsx"/></Relationships>
</file>

<file path=ppt/charts/_rels/chart408.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2.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426.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440.xlsx"/></Relationships>
</file>

<file path=ppt/charts/_rels/chart444.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458.xlsx"/></Relationships>
</file>

<file path=ppt/charts/_rels/chart460.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459.xlsx"/></Relationships>
</file>

<file path=ppt/charts/_rels/chart462.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462.xlsx"/></Relationships>
</file>

<file path=ppt/charts/_rels/chart466.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478.xlsx"/></Relationships>
</file>

<file path=ppt/charts/_rels/chart480.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480.xlsx"/></Relationships>
</file>

<file path=ppt/charts/_rels/chart484.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484.xlsx"/></Relationships>
</file>

<file path=ppt/charts/_rels/chart488.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502.xlsx"/></Relationships>
</file>

<file path=ppt/charts/_rels/chart506.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506.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524.xlsx"/></Relationships>
</file>

<file path=ppt/charts/_rels/chart528.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2.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542.xlsx"/></Relationships>
</file>

<file path=ppt/charts/_rels/chart546.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546.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550.xlsx"/></Relationships>
</file>

<file path=ppt/charts/_rels/chart554.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564.xlsx"/></Relationships>
</file>

<file path=ppt/charts/_rels/chart568.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microsoft.com/office/2011/relationships/chartStyle" Target="style354.xml"/><Relationship Id="rId2" Type="http://schemas.microsoft.com/office/2011/relationships/chartColorStyle" Target="colors354.xml"/><Relationship Id="rId3" Type="http://schemas.openxmlformats.org/officeDocument/2006/relationships/package" Target="../embeddings/Microsoft_Excel_Worksheet568.xlsx"/></Relationships>
</file>

<file path=ppt/charts/_rels/chart572.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572.xlsx"/></Relationships>
</file>

<file path=ppt/charts/_rels/chart578.xml.rels><?xml version='1.0' encoding='UTF-8' standalone='yes'?>
<Relationships xmlns="http://schemas.openxmlformats.org/package/2006/relationships"><Relationship Id="rId1" Type="http://schemas.microsoft.com/office/2011/relationships/chartStyle" Target="style363.xml"/><Relationship Id="rId2" Type="http://schemas.microsoft.com/office/2011/relationships/chartColorStyle" Target="colors363.xml"/><Relationship Id="rId3"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microsoft.com/office/2011/relationships/chartStyle" Target="style365.xml"/><Relationship Id="rId2" Type="http://schemas.microsoft.com/office/2011/relationships/chartColorStyle" Target="colors365.xml"/><Relationship Id="rId3"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microsoft.com/office/2011/relationships/chartStyle" Target="style366.xml"/><Relationship Id="rId2" Type="http://schemas.microsoft.com/office/2011/relationships/chartColorStyle" Target="colors366.xml"/><Relationship Id="rId3"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microsoft.com/office/2011/relationships/chartStyle" Target="style367.xml"/><Relationship Id="rId2" Type="http://schemas.microsoft.com/office/2011/relationships/chartColorStyle" Target="colors367.xml"/><Relationship Id="rId3"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microsoft.com/office/2011/relationships/chartStyle" Target="style368.xml"/><Relationship Id="rId2" Type="http://schemas.microsoft.com/office/2011/relationships/chartColorStyle" Target="colors368.xml"/><Relationship Id="rId3"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microsoft.com/office/2011/relationships/chartStyle" Target="style369.xml"/><Relationship Id="rId2" Type="http://schemas.microsoft.com/office/2011/relationships/chartColorStyle" Target="colors369.xml"/><Relationship Id="rId3"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microsoft.com/office/2011/relationships/chartStyle" Target="style370.xml"/><Relationship Id="rId2" Type="http://schemas.microsoft.com/office/2011/relationships/chartColorStyle" Target="colors370.xml"/><Relationship Id="rId3"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microsoft.com/office/2011/relationships/chartStyle" Target="style371.xml"/><Relationship Id="rId2" Type="http://schemas.microsoft.com/office/2011/relationships/chartColorStyle" Target="colors371.xml"/><Relationship Id="rId3"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microsoft.com/office/2011/relationships/chartStyle" Target="style372.xml"/><Relationship Id="rId2" Type="http://schemas.microsoft.com/office/2011/relationships/chartColorStyle" Target="colors372.xml"/><Relationship Id="rId3"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microsoft.com/office/2011/relationships/chartStyle" Target="style373.xml"/><Relationship Id="rId2" Type="http://schemas.microsoft.com/office/2011/relationships/chartColorStyle" Target="colors373.xml"/><Relationship Id="rId3"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microsoft.com/office/2011/relationships/chartStyle" Target="style374.xml"/><Relationship Id="rId2" Type="http://schemas.microsoft.com/office/2011/relationships/chartColorStyle" Target="colors374.xml"/><Relationship Id="rId3" Type="http://schemas.openxmlformats.org/officeDocument/2006/relationships/package" Target="../embeddings/Microsoft_Excel_Worksheet588.xlsx"/></Relationships>
</file>

<file path=ppt/charts/_rels/chart590.xml.rels><?xml version='1.0' encoding='UTF-8' standalone='yes'?>
<Relationships xmlns="http://schemas.openxmlformats.org/package/2006/relationships"><Relationship Id="rId1" Type="http://schemas.microsoft.com/office/2011/relationships/chartStyle" Target="style375.xml"/><Relationship Id="rId2" Type="http://schemas.microsoft.com/office/2011/relationships/chartColorStyle" Target="colors375.xml"/><Relationship Id="rId3"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microsoft.com/office/2011/relationships/chartStyle" Target="style376.xml"/><Relationship Id="rId2" Type="http://schemas.microsoft.com/office/2011/relationships/chartColorStyle" Target="colors376.xml"/><Relationship Id="rId3"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microsoft.com/office/2011/relationships/chartStyle" Target="style377.xml"/><Relationship Id="rId2" Type="http://schemas.microsoft.com/office/2011/relationships/chartColorStyle" Target="colors377.xml"/><Relationship Id="rId3"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microsoft.com/office/2011/relationships/chartStyle" Target="style378.xml"/><Relationship Id="rId2" Type="http://schemas.microsoft.com/office/2011/relationships/chartColorStyle" Target="colors378.xml"/><Relationship Id="rId3" Type="http://schemas.openxmlformats.org/officeDocument/2006/relationships/package" Target="../embeddings/Microsoft_Excel_Worksheet592.xlsx"/></Relationships>
</file>

<file path=ppt/charts/_rels/chart596.xml.rels><?xml version='1.0' encoding='UTF-8' standalone='yes'?>
<Relationships xmlns="http://schemas.openxmlformats.org/package/2006/relationships"><Relationship Id="rId1" Type="http://schemas.microsoft.com/office/2011/relationships/chartStyle" Target="style381.xml"/><Relationship Id="rId2" Type="http://schemas.microsoft.com/office/2011/relationships/chartColorStyle" Target="colors381.xml"/><Relationship Id="rId3"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microsoft.com/office/2011/relationships/chartStyle" Target="style382.xml"/><Relationship Id="rId2" Type="http://schemas.microsoft.com/office/2011/relationships/chartColorStyle" Target="colors382.xml"/><Relationship Id="rId3" Type="http://schemas.openxmlformats.org/officeDocument/2006/relationships/package" Target="../embeddings/Microsoft_Excel_Worksheet59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microsoft.com/office/2011/relationships/chartStyle" Target="style385.xml"/><Relationship Id="rId2" Type="http://schemas.microsoft.com/office/2011/relationships/chartColorStyle" Target="colors385.xml"/><Relationship Id="rId3"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microsoft.com/office/2011/relationships/chartStyle" Target="style386.xml"/><Relationship Id="rId2" Type="http://schemas.microsoft.com/office/2011/relationships/chartColorStyle" Target="colors386.xml"/><Relationship Id="rId3"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microsoft.com/office/2011/relationships/chartStyle" Target="style387.xml"/><Relationship Id="rId2" Type="http://schemas.microsoft.com/office/2011/relationships/chartColorStyle" Target="colors387.xml"/><Relationship Id="rId3"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microsoft.com/office/2011/relationships/chartStyle" Target="style388.xml"/><Relationship Id="rId2" Type="http://schemas.microsoft.com/office/2011/relationships/chartColorStyle" Target="colors388.xml"/><Relationship Id="rId3"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microsoft.com/office/2011/relationships/chartStyle" Target="style389.xml"/><Relationship Id="rId2" Type="http://schemas.microsoft.com/office/2011/relationships/chartColorStyle" Target="colors389.xml"/><Relationship Id="rId3"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microsoft.com/office/2011/relationships/chartStyle" Target="style390.xml"/><Relationship Id="rId2" Type="http://schemas.microsoft.com/office/2011/relationships/chartColorStyle" Target="colors390.xml"/><Relationship Id="rId3"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microsoft.com/office/2011/relationships/chartStyle" Target="style391.xml"/><Relationship Id="rId2" Type="http://schemas.microsoft.com/office/2011/relationships/chartColorStyle" Target="colors391.xml"/><Relationship Id="rId3"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microsoft.com/office/2011/relationships/chartStyle" Target="style392.xml"/><Relationship Id="rId2" Type="http://schemas.microsoft.com/office/2011/relationships/chartColorStyle" Target="colors392.xml"/><Relationship Id="rId3"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microsoft.com/office/2011/relationships/chartStyle" Target="style393.xml"/><Relationship Id="rId2" Type="http://schemas.microsoft.com/office/2011/relationships/chartColorStyle" Target="colors393.xml"/><Relationship Id="rId3"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microsoft.com/office/2011/relationships/chartStyle" Target="style394.xml"/><Relationship Id="rId2" Type="http://schemas.microsoft.com/office/2011/relationships/chartColorStyle" Target="colors394.xml"/><Relationship Id="rId3"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microsoft.com/office/2011/relationships/chartStyle" Target="style395.xml"/><Relationship Id="rId2" Type="http://schemas.microsoft.com/office/2011/relationships/chartColorStyle" Target="colors395.xml"/><Relationship Id="rId3"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microsoft.com/office/2011/relationships/chartStyle" Target="style396.xml"/><Relationship Id="rId2" Type="http://schemas.microsoft.com/office/2011/relationships/chartColorStyle" Target="colors396.xml"/><Relationship Id="rId3"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microsoft.com/office/2011/relationships/chartStyle" Target="style397.xml"/><Relationship Id="rId2" Type="http://schemas.microsoft.com/office/2011/relationships/chartColorStyle" Target="colors397.xml"/><Relationship Id="rId3"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microsoft.com/office/2011/relationships/chartStyle" Target="style398.xml"/><Relationship Id="rId2" Type="http://schemas.microsoft.com/office/2011/relationships/chartColorStyle" Target="colors398.xml"/><Relationship Id="rId3"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microsoft.com/office/2011/relationships/chartStyle" Target="style399.xml"/><Relationship Id="rId2" Type="http://schemas.microsoft.com/office/2011/relationships/chartColorStyle" Target="colors399.xml"/><Relationship Id="rId3"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microsoft.com/office/2011/relationships/chartStyle" Target="style400.xml"/><Relationship Id="rId2" Type="http://schemas.microsoft.com/office/2011/relationships/chartColorStyle" Target="colors400.xml"/><Relationship Id="rId3" Type="http://schemas.openxmlformats.org/officeDocument/2006/relationships/package" Target="../embeddings/Microsoft_Excel_Worksheet614.xlsx"/></Relationships>
</file>

<file path=ppt/charts/_rels/chart618.xml.rels><?xml version='1.0' encoding='UTF-8' standalone='yes'?>
<Relationships xmlns="http://schemas.openxmlformats.org/package/2006/relationships"><Relationship Id="rId1" Type="http://schemas.microsoft.com/office/2011/relationships/chartStyle" Target="style403.xml"/><Relationship Id="rId2" Type="http://schemas.microsoft.com/office/2011/relationships/chartColorStyle" Target="colors403.xml"/><Relationship Id="rId3"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microsoft.com/office/2011/relationships/chartStyle" Target="style404.xml"/><Relationship Id="rId2" Type="http://schemas.microsoft.com/office/2011/relationships/chartColorStyle" Target="colors404.xml"/><Relationship Id="rId3"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2.xml.rels><?xml version='1.0' encoding='UTF-8' standalone='yes'?>
<Relationships xmlns="http://schemas.openxmlformats.org/package/2006/relationships"><Relationship Id="rId1" Type="http://schemas.microsoft.com/office/2011/relationships/chartStyle" Target="style407.xml"/><Relationship Id="rId2" Type="http://schemas.microsoft.com/office/2011/relationships/chartColorStyle" Target="colors407.xml"/><Relationship Id="rId3"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microsoft.com/office/2011/relationships/chartStyle" Target="style408.xml"/><Relationship Id="rId2" Type="http://schemas.microsoft.com/office/2011/relationships/chartColorStyle" Target="colors408.xml"/><Relationship Id="rId3"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microsoft.com/office/2011/relationships/chartStyle" Target="style409.xml"/><Relationship Id="rId2" Type="http://schemas.microsoft.com/office/2011/relationships/chartColorStyle" Target="colors409.xml"/><Relationship Id="rId3"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microsoft.com/office/2011/relationships/chartStyle" Target="style410.xml"/><Relationship Id="rId2" Type="http://schemas.microsoft.com/office/2011/relationships/chartColorStyle" Target="colors410.xml"/><Relationship Id="rId3"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microsoft.com/office/2011/relationships/chartStyle" Target="style411.xml"/><Relationship Id="rId2" Type="http://schemas.microsoft.com/office/2011/relationships/chartColorStyle" Target="colors411.xml"/><Relationship Id="rId3"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microsoft.com/office/2011/relationships/chartStyle" Target="style412.xml"/><Relationship Id="rId2" Type="http://schemas.microsoft.com/office/2011/relationships/chartColorStyle" Target="colors412.xml"/><Relationship Id="rId3"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microsoft.com/office/2011/relationships/chartStyle" Target="style413.xml"/><Relationship Id="rId2" Type="http://schemas.microsoft.com/office/2011/relationships/chartColorStyle" Target="colors413.xml"/><Relationship Id="rId3"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microsoft.com/office/2011/relationships/chartStyle" Target="style414.xml"/><Relationship Id="rId2" Type="http://schemas.microsoft.com/office/2011/relationships/chartColorStyle" Target="colors414.xml"/><Relationship Id="rId3"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microsoft.com/office/2011/relationships/chartStyle" Target="style415.xml"/><Relationship Id="rId2" Type="http://schemas.microsoft.com/office/2011/relationships/chartColorStyle" Target="colors415.xml"/><Relationship Id="rId3"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microsoft.com/office/2011/relationships/chartStyle" Target="style416.xml"/><Relationship Id="rId2" Type="http://schemas.microsoft.com/office/2011/relationships/chartColorStyle" Target="colors416.xml"/><Relationship Id="rId3"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microsoft.com/office/2011/relationships/chartStyle" Target="style417.xml"/><Relationship Id="rId2" Type="http://schemas.microsoft.com/office/2011/relationships/chartColorStyle" Target="colors417.xml"/><Relationship Id="rId3"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microsoft.com/office/2011/relationships/chartStyle" Target="style418.xml"/><Relationship Id="rId2" Type="http://schemas.microsoft.com/office/2011/relationships/chartColorStyle" Target="colors418.xml"/><Relationship Id="rId3"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microsoft.com/office/2011/relationships/chartStyle" Target="style419.xml"/><Relationship Id="rId2" Type="http://schemas.microsoft.com/office/2011/relationships/chartColorStyle" Target="colors419.xml"/><Relationship Id="rId3"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microsoft.com/office/2011/relationships/chartStyle" Target="style420.xml"/><Relationship Id="rId2" Type="http://schemas.microsoft.com/office/2011/relationships/chartColorStyle" Target="colors420.xml"/><Relationship Id="rId3"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microsoft.com/office/2011/relationships/chartStyle" Target="style421.xml"/><Relationship Id="rId2" Type="http://schemas.microsoft.com/office/2011/relationships/chartColorStyle" Target="colors421.xml"/><Relationship Id="rId3"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microsoft.com/office/2011/relationships/chartStyle" Target="style422.xml"/><Relationship Id="rId2" Type="http://schemas.microsoft.com/office/2011/relationships/chartColorStyle" Target="colors422.xml"/><Relationship Id="rId3" Type="http://schemas.openxmlformats.org/officeDocument/2006/relationships/package" Target="../embeddings/Microsoft_Excel_Worksheet636.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microsoft.com/office/2011/relationships/chartStyle" Target="style425.xml"/><Relationship Id="rId2" Type="http://schemas.microsoft.com/office/2011/relationships/chartColorStyle" Target="colors425.xml"/><Relationship Id="rId3"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microsoft.com/office/2011/relationships/chartStyle" Target="style426.xml"/><Relationship Id="rId2" Type="http://schemas.microsoft.com/office/2011/relationships/chartColorStyle" Target="colors426.xml"/><Relationship Id="rId3" Type="http://schemas.openxmlformats.org/officeDocument/2006/relationships/package" Target="../embeddings/Microsoft_Excel_Worksheet640.xlsx"/></Relationships>
</file>

<file path=ppt/charts/_rels/chart644.xml.rels><?xml version='1.0' encoding='UTF-8' standalone='yes'?>
<Relationships xmlns="http://schemas.openxmlformats.org/package/2006/relationships"><Relationship Id="rId1" Type="http://schemas.microsoft.com/office/2011/relationships/chartStyle" Target="style429.xml"/><Relationship Id="rId2" Type="http://schemas.microsoft.com/office/2011/relationships/chartColorStyle" Target="colors429.xml"/><Relationship Id="rId3"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microsoft.com/office/2011/relationships/chartStyle" Target="style430.xml"/><Relationship Id="rId2" Type="http://schemas.microsoft.com/office/2011/relationships/chartColorStyle" Target="colors430.xml"/><Relationship Id="rId3"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microsoft.com/office/2011/relationships/chartStyle" Target="style431.xml"/><Relationship Id="rId2" Type="http://schemas.microsoft.com/office/2011/relationships/chartColorStyle" Target="colors431.xml"/><Relationship Id="rId3"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microsoft.com/office/2011/relationships/chartStyle" Target="style432.xml"/><Relationship Id="rId2" Type="http://schemas.microsoft.com/office/2011/relationships/chartColorStyle" Target="colors432.xml"/><Relationship Id="rId3"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microsoft.com/office/2011/relationships/chartStyle" Target="style433.xml"/><Relationship Id="rId2" Type="http://schemas.microsoft.com/office/2011/relationships/chartColorStyle" Target="colors433.xml"/><Relationship Id="rId3"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microsoft.com/office/2011/relationships/chartStyle" Target="style434.xml"/><Relationship Id="rId2" Type="http://schemas.microsoft.com/office/2011/relationships/chartColorStyle" Target="colors434.xml"/><Relationship Id="rId3"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microsoft.com/office/2011/relationships/chartStyle" Target="style435.xml"/><Relationship Id="rId2" Type="http://schemas.microsoft.com/office/2011/relationships/chartColorStyle" Target="colors435.xml"/><Relationship Id="rId3"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microsoft.com/office/2011/relationships/chartStyle" Target="style436.xml"/><Relationship Id="rId2" Type="http://schemas.microsoft.com/office/2011/relationships/chartColorStyle" Target="colors436.xml"/><Relationship Id="rId3"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microsoft.com/office/2011/relationships/chartStyle" Target="style437.xml"/><Relationship Id="rId2" Type="http://schemas.microsoft.com/office/2011/relationships/chartColorStyle" Target="colors437.xml"/><Relationship Id="rId3"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microsoft.com/office/2011/relationships/chartStyle" Target="style438.xml"/><Relationship Id="rId2" Type="http://schemas.microsoft.com/office/2011/relationships/chartColorStyle" Target="colors438.xml"/><Relationship Id="rId3"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microsoft.com/office/2011/relationships/chartStyle" Target="style439.xml"/><Relationship Id="rId2" Type="http://schemas.microsoft.com/office/2011/relationships/chartColorStyle" Target="colors439.xml"/><Relationship Id="rId3"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microsoft.com/office/2011/relationships/chartStyle" Target="style440.xml"/><Relationship Id="rId2" Type="http://schemas.microsoft.com/office/2011/relationships/chartColorStyle" Target="colors440.xml"/><Relationship Id="rId3"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microsoft.com/office/2011/relationships/chartStyle" Target="style441.xml"/><Relationship Id="rId2" Type="http://schemas.microsoft.com/office/2011/relationships/chartColorStyle" Target="colors441.xml"/><Relationship Id="rId3"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microsoft.com/office/2011/relationships/chartStyle" Target="style442.xml"/><Relationship Id="rId2" Type="http://schemas.microsoft.com/office/2011/relationships/chartColorStyle" Target="colors442.xml"/><Relationship Id="rId3"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microsoft.com/office/2011/relationships/chartStyle" Target="style443.xml"/><Relationship Id="rId2" Type="http://schemas.microsoft.com/office/2011/relationships/chartColorStyle" Target="colors443.xml"/><Relationship Id="rId3"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microsoft.com/office/2011/relationships/chartStyle" Target="style444.xml"/><Relationship Id="rId2" Type="http://schemas.microsoft.com/office/2011/relationships/chartColorStyle" Target="colors444.xml"/><Relationship Id="rId3"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2.xml.rels><?xml version='1.0' encoding='UTF-8' standalone='yes'?>
<Relationships xmlns="http://schemas.openxmlformats.org/package/2006/relationships"><Relationship Id="rId1" Type="http://schemas.microsoft.com/office/2011/relationships/chartStyle" Target="style447.xml"/><Relationship Id="rId2" Type="http://schemas.microsoft.com/office/2011/relationships/chartColorStyle" Target="colors447.xml"/><Relationship Id="rId3"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microsoft.com/office/2011/relationships/chartStyle" Target="style448.xml"/><Relationship Id="rId2" Type="http://schemas.microsoft.com/office/2011/relationships/chartColorStyle" Target="colors448.xml"/><Relationship Id="rId3" Type="http://schemas.openxmlformats.org/officeDocument/2006/relationships/package" Target="../embeddings/Microsoft_Excel_Worksheet662.xlsx"/></Relationships>
</file>

<file path=ppt/charts/_rels/chart666.xml.rels><?xml version='1.0' encoding='UTF-8' standalone='yes'?>
<Relationships xmlns="http://schemas.openxmlformats.org/package/2006/relationships"><Relationship Id="rId1" Type="http://schemas.microsoft.com/office/2011/relationships/chartStyle" Target="style451.xml"/><Relationship Id="rId2" Type="http://schemas.microsoft.com/office/2011/relationships/chartColorStyle" Target="colors451.xml"/><Relationship Id="rId3"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microsoft.com/office/2011/relationships/chartStyle" Target="style452.xml"/><Relationship Id="rId2" Type="http://schemas.microsoft.com/office/2011/relationships/chartColorStyle" Target="colors452.xml"/><Relationship Id="rId3"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microsoft.com/office/2011/relationships/chartStyle" Target="style453.xml"/><Relationship Id="rId2" Type="http://schemas.microsoft.com/office/2011/relationships/chartColorStyle" Target="colors453.xml"/><Relationship Id="rId3"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microsoft.com/office/2011/relationships/chartStyle" Target="style454.xml"/><Relationship Id="rId2" Type="http://schemas.microsoft.com/office/2011/relationships/chartColorStyle" Target="colors454.xml"/><Relationship Id="rId3"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microsoft.com/office/2011/relationships/chartStyle" Target="style455.xml"/><Relationship Id="rId2" Type="http://schemas.microsoft.com/office/2011/relationships/chartColorStyle" Target="colors455.xml"/><Relationship Id="rId3"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microsoft.com/office/2011/relationships/chartStyle" Target="style456.xml"/><Relationship Id="rId2" Type="http://schemas.microsoft.com/office/2011/relationships/chartColorStyle" Target="colors456.xml"/><Relationship Id="rId3"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microsoft.com/office/2011/relationships/chartStyle" Target="style457.xml"/><Relationship Id="rId2" Type="http://schemas.microsoft.com/office/2011/relationships/chartColorStyle" Target="colors457.xml"/><Relationship Id="rId3"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microsoft.com/office/2011/relationships/chartStyle" Target="style458.xml"/><Relationship Id="rId2" Type="http://schemas.microsoft.com/office/2011/relationships/chartColorStyle" Target="colors458.xml"/><Relationship Id="rId3"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microsoft.com/office/2011/relationships/chartStyle" Target="style459.xml"/><Relationship Id="rId2" Type="http://schemas.microsoft.com/office/2011/relationships/chartColorStyle" Target="colors459.xml"/><Relationship Id="rId3"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microsoft.com/office/2011/relationships/chartStyle" Target="style460.xml"/><Relationship Id="rId2" Type="http://schemas.microsoft.com/office/2011/relationships/chartColorStyle" Target="colors460.xml"/><Relationship Id="rId3"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microsoft.com/office/2011/relationships/chartStyle" Target="style461.xml"/><Relationship Id="rId2" Type="http://schemas.microsoft.com/office/2011/relationships/chartColorStyle" Target="colors461.xml"/><Relationship Id="rId3"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microsoft.com/office/2011/relationships/chartStyle" Target="style462.xml"/><Relationship Id="rId2" Type="http://schemas.microsoft.com/office/2011/relationships/chartColorStyle" Target="colors462.xml"/><Relationship Id="rId3" Type="http://schemas.openxmlformats.org/officeDocument/2006/relationships/package" Target="../embeddings/Microsoft_Excel_Worksheet676.xlsx"/></Relationships>
</file>

<file path=ppt/charts/_rels/chart680.xml.rels><?xml version='1.0' encoding='UTF-8' standalone='yes'?>
<Relationships xmlns="http://schemas.openxmlformats.org/package/2006/relationships"><Relationship Id="rId1" Type="http://schemas.microsoft.com/office/2011/relationships/chartStyle" Target="style465.xml"/><Relationship Id="rId2" Type="http://schemas.microsoft.com/office/2011/relationships/chartColorStyle" Target="colors465.xml"/><Relationship Id="rId3"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microsoft.com/office/2011/relationships/chartStyle" Target="style466.xml"/><Relationship Id="rId2" Type="http://schemas.microsoft.com/office/2011/relationships/chartColorStyle" Target="colors466.xml"/><Relationship Id="rId3" Type="http://schemas.openxmlformats.org/officeDocument/2006/relationships/package" Target="../embeddings/Microsoft_Excel_Worksheet680.xlsx"/></Relationships>
</file>

<file path=ppt/charts/_rels/chart684.xml.rels><?xml version='1.0' encoding='UTF-8' standalone='yes'?>
<Relationships xmlns="http://schemas.openxmlformats.org/package/2006/relationships"><Relationship Id="rId1" Type="http://schemas.microsoft.com/office/2011/relationships/chartStyle" Target="style469.xml"/><Relationship Id="rId2" Type="http://schemas.microsoft.com/office/2011/relationships/chartColorStyle" Target="colors469.xml"/><Relationship Id="rId3"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microsoft.com/office/2011/relationships/chartStyle" Target="style470.xml"/><Relationship Id="rId2" Type="http://schemas.microsoft.com/office/2011/relationships/chartColorStyle" Target="colors470.xml"/><Relationship Id="rId3" Type="http://schemas.openxmlformats.org/officeDocument/2006/relationships/package" Target="../embeddings/Microsoft_Excel_Worksheet684.xlsx"/></Relationships>
</file>

<file path=ppt/charts/_rels/chart688.xml.rels><?xml version='1.0' encoding='UTF-8' standalone='yes'?>
<Relationships xmlns="http://schemas.openxmlformats.org/package/2006/relationships"><Relationship Id="rId1" Type="http://schemas.microsoft.com/office/2011/relationships/chartStyle" Target="style473.xml"/><Relationship Id="rId2" Type="http://schemas.microsoft.com/office/2011/relationships/chartColorStyle" Target="colors473.xml"/><Relationship Id="rId3"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microsoft.com/office/2011/relationships/chartStyle" Target="style474.xml"/><Relationship Id="rId2" Type="http://schemas.microsoft.com/office/2011/relationships/chartColorStyle" Target="colors474.xml"/><Relationship Id="rId3"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microsoft.com/office/2011/relationships/chartStyle" Target="style475.xml"/><Relationship Id="rId2" Type="http://schemas.microsoft.com/office/2011/relationships/chartColorStyle" Target="colors475.xml"/><Relationship Id="rId3"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microsoft.com/office/2011/relationships/chartStyle" Target="style476.xml"/><Relationship Id="rId2" Type="http://schemas.microsoft.com/office/2011/relationships/chartColorStyle" Target="colors476.xml"/><Relationship Id="rId3"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microsoft.com/office/2011/relationships/chartStyle" Target="style477.xml"/><Relationship Id="rId2" Type="http://schemas.microsoft.com/office/2011/relationships/chartColorStyle" Target="colors477.xml"/><Relationship Id="rId3"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microsoft.com/office/2011/relationships/chartStyle" Target="style478.xml"/><Relationship Id="rId2" Type="http://schemas.microsoft.com/office/2011/relationships/chartColorStyle" Target="colors478.xml"/><Relationship Id="rId3"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microsoft.com/office/2011/relationships/chartStyle" Target="style479.xml"/><Relationship Id="rId2" Type="http://schemas.microsoft.com/office/2011/relationships/chartColorStyle" Target="colors479.xml"/><Relationship Id="rId3"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microsoft.com/office/2011/relationships/chartStyle" Target="style480.xml"/><Relationship Id="rId2" Type="http://schemas.microsoft.com/office/2011/relationships/chartColorStyle" Target="colors480.xml"/><Relationship Id="rId3"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microsoft.com/office/2011/relationships/chartStyle" Target="style481.xml"/><Relationship Id="rId2" Type="http://schemas.microsoft.com/office/2011/relationships/chartColorStyle" Target="colors481.xml"/><Relationship Id="rId3"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microsoft.com/office/2011/relationships/chartStyle" Target="style482.xml"/><Relationship Id="rId2" Type="http://schemas.microsoft.com/office/2011/relationships/chartColorStyle" Target="colors482.xml"/><Relationship Id="rId3"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microsoft.com/office/2011/relationships/chartStyle" Target="style483.xml"/><Relationship Id="rId2" Type="http://schemas.microsoft.com/office/2011/relationships/chartColorStyle" Target="colors483.xml"/><Relationship Id="rId3"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microsoft.com/office/2011/relationships/chartStyle" Target="style484.xml"/><Relationship Id="rId2" Type="http://schemas.microsoft.com/office/2011/relationships/chartColorStyle" Target="colors484.xml"/><Relationship Id="rId3"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2.xml.rels><?xml version='1.0' encoding='UTF-8' standalone='yes'?>
<Relationships xmlns="http://schemas.openxmlformats.org/package/2006/relationships"><Relationship Id="rId1" Type="http://schemas.microsoft.com/office/2011/relationships/chartStyle" Target="style487.xml"/><Relationship Id="rId2" Type="http://schemas.microsoft.com/office/2011/relationships/chartColorStyle" Target="colors487.xml"/><Relationship Id="rId3"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microsoft.com/office/2011/relationships/chartStyle" Target="style488.xml"/><Relationship Id="rId2" Type="http://schemas.microsoft.com/office/2011/relationships/chartColorStyle" Target="colors488.xml"/><Relationship Id="rId3" Type="http://schemas.openxmlformats.org/officeDocument/2006/relationships/package" Target="../embeddings/Microsoft_Excel_Worksheet702.xlsx"/></Relationships>
</file>

<file path=ppt/charts/_rels/chart706.xml.rels><?xml version='1.0' encoding='UTF-8' standalone='yes'?>
<Relationships xmlns="http://schemas.openxmlformats.org/package/2006/relationships"><Relationship Id="rId1" Type="http://schemas.microsoft.com/office/2011/relationships/chartStyle" Target="style491.xml"/><Relationship Id="rId2" Type="http://schemas.microsoft.com/office/2011/relationships/chartColorStyle" Target="colors491.xml"/><Relationship Id="rId3"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microsoft.com/office/2011/relationships/chartStyle" Target="style492.xml"/><Relationship Id="rId2" Type="http://schemas.microsoft.com/office/2011/relationships/chartColorStyle" Target="colors492.xml"/><Relationship Id="rId3" Type="http://schemas.openxmlformats.org/officeDocument/2006/relationships/package" Target="../embeddings/Microsoft_Excel_Worksheet706.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microsoft.com/office/2011/relationships/chartStyle" Target="style495.xml"/><Relationship Id="rId2" Type="http://schemas.microsoft.com/office/2011/relationships/chartColorStyle" Target="colors495.xml"/><Relationship Id="rId3"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microsoft.com/office/2011/relationships/chartStyle" Target="style496.xml"/><Relationship Id="rId2" Type="http://schemas.microsoft.com/office/2011/relationships/chartColorStyle" Target="colors496.xml"/><Relationship Id="rId3"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microsoft.com/office/2011/relationships/chartStyle" Target="style497.xml"/><Relationship Id="rId2" Type="http://schemas.microsoft.com/office/2011/relationships/chartColorStyle" Target="colors497.xml"/><Relationship Id="rId3"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microsoft.com/office/2011/relationships/chartStyle" Target="style498.xml"/><Relationship Id="rId2" Type="http://schemas.microsoft.com/office/2011/relationships/chartColorStyle" Target="colors498.xml"/><Relationship Id="rId3"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microsoft.com/office/2011/relationships/chartStyle" Target="style499.xml"/><Relationship Id="rId2" Type="http://schemas.microsoft.com/office/2011/relationships/chartColorStyle" Target="colors499.xml"/><Relationship Id="rId3"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microsoft.com/office/2011/relationships/chartStyle" Target="style500.xml"/><Relationship Id="rId2" Type="http://schemas.microsoft.com/office/2011/relationships/chartColorStyle" Target="colors500.xml"/><Relationship Id="rId3"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microsoft.com/office/2011/relationships/chartStyle" Target="style501.xml"/><Relationship Id="rId2" Type="http://schemas.microsoft.com/office/2011/relationships/chartColorStyle" Target="colors501.xml"/><Relationship Id="rId3"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microsoft.com/office/2011/relationships/chartStyle" Target="style502.xml"/><Relationship Id="rId2" Type="http://schemas.microsoft.com/office/2011/relationships/chartColorStyle" Target="colors502.xml"/><Relationship Id="rId3"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microsoft.com/office/2011/relationships/chartStyle" Target="style503.xml"/><Relationship Id="rId2" Type="http://schemas.microsoft.com/office/2011/relationships/chartColorStyle" Target="colors503.xml"/><Relationship Id="rId3"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microsoft.com/office/2011/relationships/chartStyle" Target="style504.xml"/><Relationship Id="rId2" Type="http://schemas.microsoft.com/office/2011/relationships/chartColorStyle" Target="colors504.xml"/><Relationship Id="rId3"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microsoft.com/office/2011/relationships/chartStyle" Target="style505.xml"/><Relationship Id="rId2" Type="http://schemas.microsoft.com/office/2011/relationships/chartColorStyle" Target="colors505.xml"/><Relationship Id="rId3"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microsoft.com/office/2011/relationships/chartStyle" Target="style506.xml"/><Relationship Id="rId2" Type="http://schemas.microsoft.com/office/2011/relationships/chartColorStyle" Target="colors506.xml"/><Relationship Id="rId3" Type="http://schemas.openxmlformats.org/officeDocument/2006/relationships/package" Target="../embeddings/Microsoft_Excel_Worksheet720.xlsx"/></Relationships>
</file>

<file path=ppt/charts/_rels/chart724.xml.rels><?xml version='1.0' encoding='UTF-8' standalone='yes'?>
<Relationships xmlns="http://schemas.openxmlformats.org/package/2006/relationships"><Relationship Id="rId1" Type="http://schemas.microsoft.com/office/2011/relationships/chartStyle" Target="style509.xml"/><Relationship Id="rId2" Type="http://schemas.microsoft.com/office/2011/relationships/chartColorStyle" Target="colors509.xml"/><Relationship Id="rId3"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microsoft.com/office/2011/relationships/chartStyle" Target="style510.xml"/><Relationship Id="rId2" Type="http://schemas.microsoft.com/office/2011/relationships/chartColorStyle" Target="colors510.xml"/><Relationship Id="rId3"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microsoft.com/office/2011/relationships/chartStyle" Target="style511.xml"/><Relationship Id="rId2" Type="http://schemas.microsoft.com/office/2011/relationships/chartColorStyle" Target="colors511.xml"/><Relationship Id="rId3"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microsoft.com/office/2011/relationships/chartStyle" Target="style512.xml"/><Relationship Id="rId2" Type="http://schemas.microsoft.com/office/2011/relationships/chartColorStyle" Target="colors512.xml"/><Relationship Id="rId3"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microsoft.com/office/2011/relationships/chartStyle" Target="style513.xml"/><Relationship Id="rId2" Type="http://schemas.microsoft.com/office/2011/relationships/chartColorStyle" Target="colors513.xml"/><Relationship Id="rId3"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microsoft.com/office/2011/relationships/chartStyle" Target="style514.xml"/><Relationship Id="rId2" Type="http://schemas.microsoft.com/office/2011/relationships/chartColorStyle" Target="colors514.xml"/><Relationship Id="rId3"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2.xml.rels><?xml version='1.0' encoding='UTF-8' standalone='yes'?>
<Relationships xmlns="http://schemas.openxmlformats.org/package/2006/relationships"><Relationship Id="rId1" Type="http://schemas.microsoft.com/office/2011/relationships/chartStyle" Target="style517.xml"/><Relationship Id="rId2" Type="http://schemas.microsoft.com/office/2011/relationships/chartColorStyle" Target="colors517.xml"/><Relationship Id="rId3"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microsoft.com/office/2011/relationships/chartStyle" Target="style518.xml"/><Relationship Id="rId2" Type="http://schemas.microsoft.com/office/2011/relationships/chartColorStyle" Target="colors518.xml"/><Relationship Id="rId3"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microsoft.com/office/2011/relationships/chartStyle" Target="style519.xml"/><Relationship Id="rId2" Type="http://schemas.microsoft.com/office/2011/relationships/chartColorStyle" Target="colors519.xml"/><Relationship Id="rId3"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microsoft.com/office/2011/relationships/chartStyle" Target="style520.xml"/><Relationship Id="rId2" Type="http://schemas.microsoft.com/office/2011/relationships/chartColorStyle" Target="colors520.xml"/><Relationship Id="rId3"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microsoft.com/office/2011/relationships/chartStyle" Target="style521.xml"/><Relationship Id="rId2" Type="http://schemas.microsoft.com/office/2011/relationships/chartColorStyle" Target="colors521.xml"/><Relationship Id="rId3"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microsoft.com/office/2011/relationships/chartStyle" Target="style522.xml"/><Relationship Id="rId2" Type="http://schemas.microsoft.com/office/2011/relationships/chartColorStyle" Target="colors522.xml"/><Relationship Id="rId3"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microsoft.com/office/2011/relationships/chartStyle" Target="style523.xml"/><Relationship Id="rId2" Type="http://schemas.microsoft.com/office/2011/relationships/chartColorStyle" Target="colors523.xml"/><Relationship Id="rId3"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microsoft.com/office/2011/relationships/chartStyle" Target="style524.xml"/><Relationship Id="rId2" Type="http://schemas.microsoft.com/office/2011/relationships/chartColorStyle" Target="colors524.xml"/><Relationship Id="rId3"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microsoft.com/office/2011/relationships/chartStyle" Target="style525.xml"/><Relationship Id="rId2" Type="http://schemas.microsoft.com/office/2011/relationships/chartColorStyle" Target="colors525.xml"/><Relationship Id="rId3"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microsoft.com/office/2011/relationships/chartStyle" Target="style526.xml"/><Relationship Id="rId2" Type="http://schemas.microsoft.com/office/2011/relationships/chartColorStyle" Target="colors526.xml"/><Relationship Id="rId3"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microsoft.com/office/2011/relationships/chartStyle" Target="style527.xml"/><Relationship Id="rId2" Type="http://schemas.microsoft.com/office/2011/relationships/chartColorStyle" Target="colors527.xml"/><Relationship Id="rId3"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microsoft.com/office/2011/relationships/chartStyle" Target="style528.xml"/><Relationship Id="rId2" Type="http://schemas.microsoft.com/office/2011/relationships/chartColorStyle" Target="colors528.xml"/><Relationship Id="rId3" Type="http://schemas.openxmlformats.org/officeDocument/2006/relationships/package" Target="../embeddings/Microsoft_Excel_Worksheet742.xlsx"/></Relationships>
</file>

<file path=ppt/charts/_rels/chart746.xml.rels><?xml version='1.0' encoding='UTF-8' standalone='yes'?>
<Relationships xmlns="http://schemas.openxmlformats.org/package/2006/relationships"><Relationship Id="rId1" Type="http://schemas.microsoft.com/office/2011/relationships/chartStyle" Target="style531.xml"/><Relationship Id="rId2" Type="http://schemas.microsoft.com/office/2011/relationships/chartColorStyle" Target="colors531.xml"/><Relationship Id="rId3"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microsoft.com/office/2011/relationships/chartStyle" Target="style532.xml"/><Relationship Id="rId2" Type="http://schemas.microsoft.com/office/2011/relationships/chartColorStyle" Target="colors532.xml"/><Relationship Id="rId3"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microsoft.com/office/2011/relationships/chartStyle" Target="style533.xml"/><Relationship Id="rId2" Type="http://schemas.microsoft.com/office/2011/relationships/chartColorStyle" Target="colors533.xml"/><Relationship Id="rId3"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microsoft.com/office/2011/relationships/chartStyle" Target="style534.xml"/><Relationship Id="rId2" Type="http://schemas.microsoft.com/office/2011/relationships/chartColorStyle" Target="colors534.xml"/><Relationship Id="rId3"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microsoft.com/office/2011/relationships/chartStyle" Target="style535.xml"/><Relationship Id="rId2" Type="http://schemas.microsoft.com/office/2011/relationships/chartColorStyle" Target="colors535.xml"/><Relationship Id="rId3"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microsoft.com/office/2011/relationships/chartStyle" Target="style536.xml"/><Relationship Id="rId2" Type="http://schemas.microsoft.com/office/2011/relationships/chartColorStyle" Target="colors536.xml"/><Relationship Id="rId3"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microsoft.com/office/2011/relationships/chartStyle" Target="style537.xml"/><Relationship Id="rId2" Type="http://schemas.microsoft.com/office/2011/relationships/chartColorStyle" Target="colors537.xml"/><Relationship Id="rId3"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microsoft.com/office/2011/relationships/chartStyle" Target="style538.xml"/><Relationship Id="rId2" Type="http://schemas.microsoft.com/office/2011/relationships/chartColorStyle" Target="colors538.xml"/><Relationship Id="rId3"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microsoft.com/office/2011/relationships/chartStyle" Target="style539.xml"/><Relationship Id="rId2" Type="http://schemas.microsoft.com/office/2011/relationships/chartColorStyle" Target="colors539.xml"/><Relationship Id="rId3"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microsoft.com/office/2011/relationships/chartStyle" Target="style540.xml"/><Relationship Id="rId2" Type="http://schemas.microsoft.com/office/2011/relationships/chartColorStyle" Target="colors540.xml"/><Relationship Id="rId3"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microsoft.com/office/2011/relationships/chartStyle" Target="style541.xml"/><Relationship Id="rId2" Type="http://schemas.microsoft.com/office/2011/relationships/chartColorStyle" Target="colors541.xml"/><Relationship Id="rId3"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microsoft.com/office/2011/relationships/chartStyle" Target="style542.xml"/><Relationship Id="rId2" Type="http://schemas.microsoft.com/office/2011/relationships/chartColorStyle" Target="colors542.xml"/><Relationship Id="rId3"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microsoft.com/office/2011/relationships/chartStyle" Target="style543.xml"/><Relationship Id="rId2" Type="http://schemas.microsoft.com/office/2011/relationships/chartColorStyle" Target="colors543.xml"/><Relationship Id="rId3"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microsoft.com/office/2011/relationships/chartStyle" Target="style544.xml"/><Relationship Id="rId2" Type="http://schemas.microsoft.com/office/2011/relationships/chartColorStyle" Target="colors544.xml"/><Relationship Id="rId3"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microsoft.com/office/2011/relationships/chartStyle" Target="style545.xml"/><Relationship Id="rId2" Type="http://schemas.microsoft.com/office/2011/relationships/chartColorStyle" Target="colors545.xml"/><Relationship Id="rId3"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microsoft.com/office/2011/relationships/chartStyle" Target="style546.xml"/><Relationship Id="rId2" Type="http://schemas.microsoft.com/office/2011/relationships/chartColorStyle" Target="colors546.xml"/><Relationship Id="rId3" Type="http://schemas.openxmlformats.org/officeDocument/2006/relationships/package" Target="../embeddings/Microsoft_Excel_Worksheet760.xlsx"/></Relationships>
</file>

<file path=ppt/charts/_rels/chart764.xml.rels><?xml version='1.0' encoding='UTF-8' standalone='yes'?>
<Relationships xmlns="http://schemas.openxmlformats.org/package/2006/relationships"><Relationship Id="rId1" Type="http://schemas.microsoft.com/office/2011/relationships/chartStyle" Target="style549.xml"/><Relationship Id="rId2" Type="http://schemas.microsoft.com/office/2011/relationships/chartColorStyle" Target="colors549.xml"/><Relationship Id="rId3"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microsoft.com/office/2011/relationships/chartStyle" Target="style550.xml"/><Relationship Id="rId2" Type="http://schemas.microsoft.com/office/2011/relationships/chartColorStyle" Target="colors550.xml"/><Relationship Id="rId3" Type="http://schemas.openxmlformats.org/officeDocument/2006/relationships/package" Target="../embeddings/Microsoft_Excel_Worksheet764.xlsx"/></Relationships>
</file>

<file path=ppt/charts/_rels/chart768.xml.rels><?xml version='1.0' encoding='UTF-8' standalone='yes'?>
<Relationships xmlns="http://schemas.openxmlformats.org/package/2006/relationships"><Relationship Id="rId1" Type="http://schemas.microsoft.com/office/2011/relationships/chartStyle" Target="style553.xml"/><Relationship Id="rId2" Type="http://schemas.microsoft.com/office/2011/relationships/chartColorStyle" Target="colors553.xml"/><Relationship Id="rId3"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microsoft.com/office/2011/relationships/chartStyle" Target="style554.xml"/><Relationship Id="rId2" Type="http://schemas.microsoft.com/office/2011/relationships/chartColorStyle" Target="colors554.xml"/><Relationship Id="rId3"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microsoft.com/office/2011/relationships/chartStyle" Target="style555.xml"/><Relationship Id="rId2" Type="http://schemas.microsoft.com/office/2011/relationships/chartColorStyle" Target="colors555.xml"/><Relationship Id="rId3"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microsoft.com/office/2011/relationships/chartStyle" Target="style556.xml"/><Relationship Id="rId2" Type="http://schemas.microsoft.com/office/2011/relationships/chartColorStyle" Target="colors556.xml"/><Relationship Id="rId3"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microsoft.com/office/2011/relationships/chartStyle" Target="style557.xml"/><Relationship Id="rId2" Type="http://schemas.microsoft.com/office/2011/relationships/chartColorStyle" Target="colors557.xml"/><Relationship Id="rId3"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microsoft.com/office/2011/relationships/chartStyle" Target="style558.xml"/><Relationship Id="rId2" Type="http://schemas.microsoft.com/office/2011/relationships/chartColorStyle" Target="colors558.xml"/><Relationship Id="rId3"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microsoft.com/office/2011/relationships/chartStyle" Target="style559.xml"/><Relationship Id="rId2" Type="http://schemas.microsoft.com/office/2011/relationships/chartColorStyle" Target="colors559.xml"/><Relationship Id="rId3"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microsoft.com/office/2011/relationships/chartStyle" Target="style560.xml"/><Relationship Id="rId2" Type="http://schemas.microsoft.com/office/2011/relationships/chartColorStyle" Target="colors560.xml"/><Relationship Id="rId3" Type="http://schemas.openxmlformats.org/officeDocument/2006/relationships/package" Target="../embeddings/Microsoft_Excel_Worksheet774.xlsx"/></Relationships>
</file>

<file path=ppt/charts/_rels/chart778.xml.rels><?xml version='1.0' encoding='UTF-8' standalone='yes'?>
<Relationships xmlns="http://schemas.openxmlformats.org/package/2006/relationships"><Relationship Id="rId1" Type="http://schemas.microsoft.com/office/2011/relationships/chartStyle" Target="style563.xml"/><Relationship Id="rId2" Type="http://schemas.microsoft.com/office/2011/relationships/chartColorStyle" Target="colors563.xml"/><Relationship Id="rId3"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microsoft.com/office/2011/relationships/chartStyle" Target="style564.xml"/><Relationship Id="rId2" Type="http://schemas.microsoft.com/office/2011/relationships/chartColorStyle" Target="colors564.xml"/><Relationship Id="rId3"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microsoft.com/office/2011/relationships/chartStyle" Target="style565.xml"/><Relationship Id="rId2" Type="http://schemas.microsoft.com/office/2011/relationships/chartColorStyle" Target="colors565.xml"/><Relationship Id="rId3"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microsoft.com/office/2011/relationships/chartStyle" Target="style566.xml"/><Relationship Id="rId2" Type="http://schemas.microsoft.com/office/2011/relationships/chartColorStyle" Target="colors566.xml"/><Relationship Id="rId3"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microsoft.com/office/2011/relationships/chartStyle" Target="style567.xml"/><Relationship Id="rId2" Type="http://schemas.microsoft.com/office/2011/relationships/chartColorStyle" Target="colors567.xml"/><Relationship Id="rId3"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microsoft.com/office/2011/relationships/chartStyle" Target="style568.xml"/><Relationship Id="rId2" Type="http://schemas.microsoft.com/office/2011/relationships/chartColorStyle" Target="colors568.xml"/><Relationship Id="rId3"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microsoft.com/office/2011/relationships/chartStyle" Target="style569.xml"/><Relationship Id="rId2" Type="http://schemas.microsoft.com/office/2011/relationships/chartColorStyle" Target="colors569.xml"/><Relationship Id="rId3"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microsoft.com/office/2011/relationships/chartStyle" Target="style570.xml"/><Relationship Id="rId2" Type="http://schemas.microsoft.com/office/2011/relationships/chartColorStyle" Target="colors570.xml"/><Relationship Id="rId3"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microsoft.com/office/2011/relationships/chartStyle" Target="style571.xml"/><Relationship Id="rId2" Type="http://schemas.microsoft.com/office/2011/relationships/chartColorStyle" Target="colors571.xml"/><Relationship Id="rId3"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microsoft.com/office/2011/relationships/chartStyle" Target="style572.xml"/><Relationship Id="rId2" Type="http://schemas.microsoft.com/office/2011/relationships/chartColorStyle" Target="colors572.xml"/><Relationship Id="rId3"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microsoft.com/office/2011/relationships/chartStyle" Target="style573.xml"/><Relationship Id="rId2" Type="http://schemas.microsoft.com/office/2011/relationships/chartColorStyle" Target="colors573.xml"/><Relationship Id="rId3"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microsoft.com/office/2011/relationships/chartStyle" Target="style574.xml"/><Relationship Id="rId2" Type="http://schemas.microsoft.com/office/2011/relationships/chartColorStyle" Target="colors574.xml"/><Relationship Id="rId3" Type="http://schemas.openxmlformats.org/officeDocument/2006/relationships/package" Target="../embeddings/Microsoft_Excel_Worksheet788.xlsx"/></Relationships>
</file>

<file path=ppt/charts/_rels/chart792.xml.rels><?xml version='1.0' encoding='UTF-8' standalone='yes'?>
<Relationships xmlns="http://schemas.openxmlformats.org/package/2006/relationships"><Relationship Id="rId1" Type="http://schemas.microsoft.com/office/2011/relationships/chartStyle" Target="style577.xml"/><Relationship Id="rId2" Type="http://schemas.microsoft.com/office/2011/relationships/chartColorStyle" Target="colors577.xml"/><Relationship Id="rId3"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microsoft.com/office/2011/relationships/chartStyle" Target="style578.xml"/><Relationship Id="rId2" Type="http://schemas.microsoft.com/office/2011/relationships/chartColorStyle" Target="colors578.xml"/><Relationship Id="rId3" Type="http://schemas.openxmlformats.org/officeDocument/2006/relationships/package" Target="../embeddings/Microsoft_Excel_Worksheet792.xlsx"/></Relationships>
</file>

<file path=ppt/charts/_rels/chart796.xml.rels><?xml version='1.0' encoding='UTF-8' standalone='yes'?>
<Relationships xmlns="http://schemas.openxmlformats.org/package/2006/relationships"><Relationship Id="rId1" Type="http://schemas.microsoft.com/office/2011/relationships/chartStyle" Target="style581.xml"/><Relationship Id="rId2" Type="http://schemas.microsoft.com/office/2011/relationships/chartColorStyle" Target="colors581.xml"/><Relationship Id="rId3"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microsoft.com/office/2011/relationships/chartStyle" Target="style582.xml"/><Relationship Id="rId2" Type="http://schemas.microsoft.com/office/2011/relationships/chartColorStyle" Target="colors582.xml"/><Relationship Id="rId3" Type="http://schemas.openxmlformats.org/officeDocument/2006/relationships/package" Target="../embeddings/Microsoft_Excel_Worksheet796.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microsoft.com/office/2011/relationships/chartStyle" Target="style585.xml"/><Relationship Id="rId2" Type="http://schemas.microsoft.com/office/2011/relationships/chartColorStyle" Target="colors585.xml"/><Relationship Id="rId3"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microsoft.com/office/2011/relationships/chartStyle" Target="style586.xml"/><Relationship Id="rId2" Type="http://schemas.microsoft.com/office/2011/relationships/chartColorStyle" Target="colors586.xml"/><Relationship Id="rId3"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microsoft.com/office/2011/relationships/chartStyle" Target="style587.xml"/><Relationship Id="rId2" Type="http://schemas.microsoft.com/office/2011/relationships/chartColorStyle" Target="colors587.xml"/><Relationship Id="rId3"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microsoft.com/office/2011/relationships/chartStyle" Target="style588.xml"/><Relationship Id="rId2" Type="http://schemas.microsoft.com/office/2011/relationships/chartColorStyle" Target="colors588.xml"/><Relationship Id="rId3"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microsoft.com/office/2011/relationships/chartStyle" Target="style589.xml"/><Relationship Id="rId2" Type="http://schemas.microsoft.com/office/2011/relationships/chartColorStyle" Target="colors589.xml"/><Relationship Id="rId3"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microsoft.com/office/2011/relationships/chartStyle" Target="style590.xml"/><Relationship Id="rId2" Type="http://schemas.microsoft.com/office/2011/relationships/chartColorStyle" Target="colors590.xml"/><Relationship Id="rId3"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microsoft.com/office/2011/relationships/chartStyle" Target="style591.xml"/><Relationship Id="rId2" Type="http://schemas.microsoft.com/office/2011/relationships/chartColorStyle" Target="colors591.xml"/><Relationship Id="rId3"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microsoft.com/office/2011/relationships/chartStyle" Target="style592.xml"/><Relationship Id="rId2" Type="http://schemas.microsoft.com/office/2011/relationships/chartColorStyle" Target="colors592.xml"/><Relationship Id="rId3"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microsoft.com/office/2011/relationships/chartStyle" Target="style593.xml"/><Relationship Id="rId2" Type="http://schemas.microsoft.com/office/2011/relationships/chartColorStyle" Target="colors593.xml"/><Relationship Id="rId3"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microsoft.com/office/2011/relationships/chartStyle" Target="style594.xml"/><Relationship Id="rId2" Type="http://schemas.microsoft.com/office/2011/relationships/chartColorStyle" Target="colors594.xml"/><Relationship Id="rId3" Type="http://schemas.openxmlformats.org/officeDocument/2006/relationships/package" Target="../embeddings/Microsoft_Excel_Worksheet808.xlsx"/></Relationships>
</file>

<file path=ppt/charts/_rels/chart810.xml.rels><?xml version='1.0' encoding='UTF-8' standalone='yes'?>
<Relationships xmlns="http://schemas.openxmlformats.org/package/2006/relationships"><Relationship Id="rId1" Type="http://schemas.microsoft.com/office/2011/relationships/chartStyle" Target="style595.xml"/><Relationship Id="rId2" Type="http://schemas.microsoft.com/office/2011/relationships/chartColorStyle" Target="colors595.xml"/><Relationship Id="rId3"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microsoft.com/office/2011/relationships/chartStyle" Target="style596.xml"/><Relationship Id="rId2" Type="http://schemas.microsoft.com/office/2011/relationships/chartColorStyle" Target="colors596.xml"/><Relationship Id="rId3" Type="http://schemas.openxmlformats.org/officeDocument/2006/relationships/package" Target="../embeddings/Microsoft_Excel_Worksheet810.xlsx"/></Relationships>
</file>

<file path=ppt/charts/_rels/chart814.xml.rels><?xml version='1.0' encoding='UTF-8' standalone='yes'?>
<Relationships xmlns="http://schemas.openxmlformats.org/package/2006/relationships"><Relationship Id="rId1" Type="http://schemas.microsoft.com/office/2011/relationships/chartStyle" Target="style599.xml"/><Relationship Id="rId2" Type="http://schemas.microsoft.com/office/2011/relationships/chartColorStyle" Target="colors599.xml"/><Relationship Id="rId3"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microsoft.com/office/2011/relationships/chartStyle" Target="style600.xml"/><Relationship Id="rId2" Type="http://schemas.microsoft.com/office/2011/relationships/chartColorStyle" Target="colors600.xml"/><Relationship Id="rId3" Type="http://schemas.openxmlformats.org/officeDocument/2006/relationships/package" Target="../embeddings/Microsoft_Excel_Worksheet814.xlsx"/></Relationships>
</file>

<file path=ppt/charts/_rels/chart818.xml.rels><?xml version='1.0' encoding='UTF-8' standalone='yes'?>
<Relationships xmlns="http://schemas.openxmlformats.org/package/2006/relationships"><Relationship Id="rId1" Type="http://schemas.microsoft.com/office/2011/relationships/chartStyle" Target="style603.xml"/><Relationship Id="rId2" Type="http://schemas.microsoft.com/office/2011/relationships/chartColorStyle" Target="colors603.xml"/><Relationship Id="rId3"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microsoft.com/office/2011/relationships/chartStyle" Target="style604.xml"/><Relationship Id="rId2" Type="http://schemas.microsoft.com/office/2011/relationships/chartColorStyle" Target="colors604.xml"/><Relationship Id="rId3"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2.xml.rels><?xml version='1.0' encoding='UTF-8' standalone='yes'?>
<Relationships xmlns="http://schemas.openxmlformats.org/package/2006/relationships"><Relationship Id="rId1" Type="http://schemas.microsoft.com/office/2011/relationships/chartStyle" Target="style607.xml"/><Relationship Id="rId2" Type="http://schemas.microsoft.com/office/2011/relationships/chartColorStyle" Target="colors607.xml"/><Relationship Id="rId3"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microsoft.com/office/2011/relationships/chartStyle" Target="style608.xml"/><Relationship Id="rId2" Type="http://schemas.microsoft.com/office/2011/relationships/chartColorStyle" Target="colors608.xml"/><Relationship Id="rId3"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microsoft.com/office/2011/relationships/chartStyle" Target="style609.xml"/><Relationship Id="rId2" Type="http://schemas.microsoft.com/office/2011/relationships/chartColorStyle" Target="colors609.xml"/><Relationship Id="rId3"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microsoft.com/office/2011/relationships/chartStyle" Target="style610.xml"/><Relationship Id="rId2" Type="http://schemas.microsoft.com/office/2011/relationships/chartColorStyle" Target="colors610.xml"/><Relationship Id="rId3"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microsoft.com/office/2011/relationships/chartStyle" Target="style611.xml"/><Relationship Id="rId2" Type="http://schemas.microsoft.com/office/2011/relationships/chartColorStyle" Target="colors611.xml"/><Relationship Id="rId3"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microsoft.com/office/2011/relationships/chartStyle" Target="style612.xml"/><Relationship Id="rId2" Type="http://schemas.microsoft.com/office/2011/relationships/chartColorStyle" Target="colors612.xml"/><Relationship Id="rId3"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microsoft.com/office/2011/relationships/chartStyle" Target="style613.xml"/><Relationship Id="rId2" Type="http://schemas.microsoft.com/office/2011/relationships/chartColorStyle" Target="colors613.xml"/><Relationship Id="rId3"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microsoft.com/office/2011/relationships/chartStyle" Target="style614.xml"/><Relationship Id="rId2" Type="http://schemas.microsoft.com/office/2011/relationships/chartColorStyle" Target="colors614.xml"/><Relationship Id="rId3"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microsoft.com/office/2011/relationships/chartStyle" Target="style615.xml"/><Relationship Id="rId2" Type="http://schemas.microsoft.com/office/2011/relationships/chartColorStyle" Target="colors615.xml"/><Relationship Id="rId3"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microsoft.com/office/2011/relationships/chartStyle" Target="style616.xml"/><Relationship Id="rId2" Type="http://schemas.microsoft.com/office/2011/relationships/chartColorStyle" Target="colors616.xml"/><Relationship Id="rId3"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microsoft.com/office/2011/relationships/chartStyle" Target="style617.xml"/><Relationship Id="rId2" Type="http://schemas.microsoft.com/office/2011/relationships/chartColorStyle" Target="colors617.xml"/><Relationship Id="rId3"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microsoft.com/office/2011/relationships/chartStyle" Target="style618.xml"/><Relationship Id="rId2" Type="http://schemas.microsoft.com/office/2011/relationships/chartColorStyle" Target="colors618.xml"/><Relationship Id="rId3" Type="http://schemas.openxmlformats.org/officeDocument/2006/relationships/package" Target="../embeddings/Microsoft_Excel_Worksheet832.xlsx"/></Relationships>
</file>

<file path=ppt/charts/_rels/chart836.xml.rels><?xml version='1.0' encoding='UTF-8' standalone='yes'?>
<Relationships xmlns="http://schemas.openxmlformats.org/package/2006/relationships"><Relationship Id="rId1" Type="http://schemas.microsoft.com/office/2011/relationships/chartStyle" Target="style621.xml"/><Relationship Id="rId2" Type="http://schemas.microsoft.com/office/2011/relationships/chartColorStyle" Target="colors621.xml"/><Relationship Id="rId3"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microsoft.com/office/2011/relationships/chartStyle" Target="style622.xml"/><Relationship Id="rId2" Type="http://schemas.microsoft.com/office/2011/relationships/chartColorStyle" Target="colors622.xml"/><Relationship Id="rId3"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microsoft.com/office/2011/relationships/chartStyle" Target="style623.xml"/><Relationship Id="rId2" Type="http://schemas.microsoft.com/office/2011/relationships/chartColorStyle" Target="colors623.xml"/><Relationship Id="rId3"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microsoft.com/office/2011/relationships/chartStyle" Target="style624.xml"/><Relationship Id="rId2" Type="http://schemas.microsoft.com/office/2011/relationships/chartColorStyle" Target="colors624.xml"/><Relationship Id="rId3"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microsoft.com/office/2011/relationships/chartStyle" Target="style625.xml"/><Relationship Id="rId2" Type="http://schemas.microsoft.com/office/2011/relationships/chartColorStyle" Target="colors625.xml"/><Relationship Id="rId3"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microsoft.com/office/2011/relationships/chartStyle" Target="style626.xml"/><Relationship Id="rId2" Type="http://schemas.microsoft.com/office/2011/relationships/chartColorStyle" Target="colors626.xml"/><Relationship Id="rId3" Type="http://schemas.openxmlformats.org/officeDocument/2006/relationships/package" Target="../embeddings/Microsoft_Excel_Worksheet840.xlsx"/></Relationships>
</file>

<file path=ppt/charts/_rels/chart844.xml.rels><?xml version='1.0' encoding='UTF-8' standalone='yes'?>
<Relationships xmlns="http://schemas.openxmlformats.org/package/2006/relationships"><Relationship Id="rId1" Type="http://schemas.microsoft.com/office/2011/relationships/chartStyle" Target="style629.xml"/><Relationship Id="rId2" Type="http://schemas.microsoft.com/office/2011/relationships/chartColorStyle" Target="colors629.xml"/><Relationship Id="rId3"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microsoft.com/office/2011/relationships/chartStyle" Target="style630.xml"/><Relationship Id="rId2" Type="http://schemas.microsoft.com/office/2011/relationships/chartColorStyle" Target="colors630.xml"/><Relationship Id="rId3"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microsoft.com/office/2011/relationships/chartStyle" Target="style631.xml"/><Relationship Id="rId2" Type="http://schemas.microsoft.com/office/2011/relationships/chartColorStyle" Target="colors631.xml"/><Relationship Id="rId3"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microsoft.com/office/2011/relationships/chartStyle" Target="style632.xml"/><Relationship Id="rId2" Type="http://schemas.microsoft.com/office/2011/relationships/chartColorStyle" Target="colors632.xml"/><Relationship Id="rId3"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microsoft.com/office/2011/relationships/chartStyle" Target="style633.xml"/><Relationship Id="rId2" Type="http://schemas.microsoft.com/office/2011/relationships/chartColorStyle" Target="colors633.xml"/><Relationship Id="rId3"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microsoft.com/office/2011/relationships/chartStyle" Target="style634.xml"/><Relationship Id="rId2" Type="http://schemas.microsoft.com/office/2011/relationships/chartColorStyle" Target="colors634.xml"/><Relationship Id="rId3"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microsoft.com/office/2011/relationships/chartStyle" Target="style635.xml"/><Relationship Id="rId2" Type="http://schemas.microsoft.com/office/2011/relationships/chartColorStyle" Target="colors635.xml"/><Relationship Id="rId3"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microsoft.com/office/2011/relationships/chartStyle" Target="style636.xml"/><Relationship Id="rId2" Type="http://schemas.microsoft.com/office/2011/relationships/chartColorStyle" Target="colors636.xml"/><Relationship Id="rId3"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microsoft.com/office/2011/relationships/chartStyle" Target="style637.xml"/><Relationship Id="rId2" Type="http://schemas.microsoft.com/office/2011/relationships/chartColorStyle" Target="colors637.xml"/><Relationship Id="rId3"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microsoft.com/office/2011/relationships/chartStyle" Target="style638.xml"/><Relationship Id="rId2" Type="http://schemas.microsoft.com/office/2011/relationships/chartColorStyle" Target="colors638.xml"/><Relationship Id="rId3"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microsoft.com/office/2011/relationships/chartStyle" Target="style639.xml"/><Relationship Id="rId2" Type="http://schemas.microsoft.com/office/2011/relationships/chartColorStyle" Target="colors639.xml"/><Relationship Id="rId3"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microsoft.com/office/2011/relationships/chartStyle" Target="style640.xml"/><Relationship Id="rId2" Type="http://schemas.microsoft.com/office/2011/relationships/chartColorStyle" Target="colors640.xml"/><Relationship Id="rId3" Type="http://schemas.openxmlformats.org/officeDocument/2006/relationships/package" Target="../embeddings/Microsoft_Excel_Worksheet854.xlsx"/></Relationships>
</file>

<file path=ppt/charts/_rels/chart858.xml.rels><?xml version='1.0' encoding='UTF-8' standalone='yes'?>
<Relationships xmlns="http://schemas.openxmlformats.org/package/2006/relationships"><Relationship Id="rId1" Type="http://schemas.microsoft.com/office/2011/relationships/chartStyle" Target="style643.xml"/><Relationship Id="rId2" Type="http://schemas.microsoft.com/office/2011/relationships/chartColorStyle" Target="colors643.xml"/><Relationship Id="rId3"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microsoft.com/office/2011/relationships/chartStyle" Target="style644.xml"/><Relationship Id="rId2" Type="http://schemas.microsoft.com/office/2011/relationships/chartColorStyle" Target="colors644.xml"/><Relationship Id="rId3"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microsoft.com/office/2011/relationships/chartStyle" Target="style645.xml"/><Relationship Id="rId2" Type="http://schemas.microsoft.com/office/2011/relationships/chartColorStyle" Target="colors645.xml"/><Relationship Id="rId3"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microsoft.com/office/2011/relationships/chartStyle" Target="style646.xml"/><Relationship Id="rId2" Type="http://schemas.microsoft.com/office/2011/relationships/chartColorStyle" Target="colors646.xml"/><Relationship Id="rId3"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microsoft.com/office/2011/relationships/chartStyle" Target="style647.xml"/><Relationship Id="rId2" Type="http://schemas.microsoft.com/office/2011/relationships/chartColorStyle" Target="colors647.xml"/><Relationship Id="rId3"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microsoft.com/office/2011/relationships/chartStyle" Target="style648.xml"/><Relationship Id="rId2" Type="http://schemas.microsoft.com/office/2011/relationships/chartColorStyle" Target="colors648.xml"/><Relationship Id="rId3"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microsoft.com/office/2011/relationships/chartStyle" Target="style649.xml"/><Relationship Id="rId2" Type="http://schemas.microsoft.com/office/2011/relationships/chartColorStyle" Target="colors649.xml"/><Relationship Id="rId3"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microsoft.com/office/2011/relationships/chartStyle" Target="style650.xml"/><Relationship Id="rId2" Type="http://schemas.microsoft.com/office/2011/relationships/chartColorStyle" Target="colors650.xml"/><Relationship Id="rId3"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microsoft.com/office/2011/relationships/chartStyle" Target="style651.xml"/><Relationship Id="rId2" Type="http://schemas.microsoft.com/office/2011/relationships/chartColorStyle" Target="colors651.xml"/><Relationship Id="rId3"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microsoft.com/office/2011/relationships/chartStyle" Target="style652.xml"/><Relationship Id="rId2" Type="http://schemas.microsoft.com/office/2011/relationships/chartColorStyle" Target="colors652.xml"/><Relationship Id="rId3"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microsoft.com/office/2011/relationships/chartStyle" Target="style653.xml"/><Relationship Id="rId2" Type="http://schemas.microsoft.com/office/2011/relationships/chartColorStyle" Target="colors653.xml"/><Relationship Id="rId3"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microsoft.com/office/2011/relationships/chartStyle" Target="style654.xml"/><Relationship Id="rId2" Type="http://schemas.microsoft.com/office/2011/relationships/chartColorStyle" Target="colors654.xml"/><Relationship Id="rId3"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microsoft.com/office/2011/relationships/chartStyle" Target="style655.xml"/><Relationship Id="rId2" Type="http://schemas.microsoft.com/office/2011/relationships/chartColorStyle" Target="colors655.xml"/><Relationship Id="rId3"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microsoft.com/office/2011/relationships/chartStyle" Target="style656.xml"/><Relationship Id="rId2" Type="http://schemas.microsoft.com/office/2011/relationships/chartColorStyle" Target="colors656.xml"/><Relationship Id="rId3"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microsoft.com/office/2011/relationships/chartStyle" Target="style657.xml"/><Relationship Id="rId2" Type="http://schemas.microsoft.com/office/2011/relationships/chartColorStyle" Target="colors657.xml"/><Relationship Id="rId3"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microsoft.com/office/2011/relationships/chartStyle" Target="style658.xml"/><Relationship Id="rId2" Type="http://schemas.microsoft.com/office/2011/relationships/chartColorStyle" Target="colors658.xml"/><Relationship Id="rId3" Type="http://schemas.openxmlformats.org/officeDocument/2006/relationships/package" Target="../embeddings/Microsoft_Excel_Worksheet872.xlsx"/></Relationships>
</file>

<file path=ppt/charts/_rels/chart876.xml.rels><?xml version='1.0' encoding='UTF-8' standalone='yes'?>
<Relationships xmlns="http://schemas.openxmlformats.org/package/2006/relationships"><Relationship Id="rId1" Type="http://schemas.microsoft.com/office/2011/relationships/chartStyle" Target="style661.xml"/><Relationship Id="rId2" Type="http://schemas.microsoft.com/office/2011/relationships/chartColorStyle" Target="colors661.xml"/><Relationship Id="rId3"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microsoft.com/office/2011/relationships/chartStyle" Target="style662.xml"/><Relationship Id="rId2" Type="http://schemas.microsoft.com/office/2011/relationships/chartColorStyle" Target="colors662.xml"/><Relationship Id="rId3" Type="http://schemas.openxmlformats.org/officeDocument/2006/relationships/package" Target="../embeddings/Microsoft_Excel_Worksheet876.xlsx"/></Relationships>
</file>

<file path=ppt/charts/_rels/chart880.xml.rels><?xml version='1.0' encoding='UTF-8' standalone='yes'?>
<Relationships xmlns="http://schemas.openxmlformats.org/package/2006/relationships"><Relationship Id="rId1" Type="http://schemas.microsoft.com/office/2011/relationships/chartStyle" Target="style665.xml"/><Relationship Id="rId2" Type="http://schemas.microsoft.com/office/2011/relationships/chartColorStyle" Target="colors665.xml"/><Relationship Id="rId3"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microsoft.com/office/2011/relationships/chartStyle" Target="style666.xml"/><Relationship Id="rId2" Type="http://schemas.microsoft.com/office/2011/relationships/chartColorStyle" Target="colors666.xml"/><Relationship Id="rId3"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microsoft.com/office/2011/relationships/chartStyle" Target="style667.xml"/><Relationship Id="rId2" Type="http://schemas.microsoft.com/office/2011/relationships/chartColorStyle" Target="colors667.xml"/><Relationship Id="rId3"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microsoft.com/office/2011/relationships/chartStyle" Target="style668.xml"/><Relationship Id="rId2" Type="http://schemas.microsoft.com/office/2011/relationships/chartColorStyle" Target="colors668.xml"/><Relationship Id="rId3"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microsoft.com/office/2011/relationships/chartStyle" Target="style669.xml"/><Relationship Id="rId2" Type="http://schemas.microsoft.com/office/2011/relationships/chartColorStyle" Target="colors669.xml"/><Relationship Id="rId3"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microsoft.com/office/2011/relationships/chartStyle" Target="style670.xml"/><Relationship Id="rId2" Type="http://schemas.microsoft.com/office/2011/relationships/chartColorStyle" Target="colors670.xml"/><Relationship Id="rId3"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microsoft.com/office/2011/relationships/chartStyle" Target="style671.xml"/><Relationship Id="rId2" Type="http://schemas.microsoft.com/office/2011/relationships/chartColorStyle" Target="colors671.xml"/><Relationship Id="rId3"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microsoft.com/office/2011/relationships/chartStyle" Target="style672.xml"/><Relationship Id="rId2" Type="http://schemas.microsoft.com/office/2011/relationships/chartColorStyle" Target="colors672.xml"/><Relationship Id="rId3"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microsoft.com/office/2011/relationships/chartStyle" Target="style673.xml"/><Relationship Id="rId2" Type="http://schemas.microsoft.com/office/2011/relationships/chartColorStyle" Target="colors673.xml"/><Relationship Id="rId3"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microsoft.com/office/2011/relationships/chartStyle" Target="style674.xml"/><Relationship Id="rId2" Type="http://schemas.microsoft.com/office/2011/relationships/chartColorStyle" Target="colors674.xml"/><Relationship Id="rId3"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microsoft.com/office/2011/relationships/chartStyle" Target="style675.xml"/><Relationship Id="rId2" Type="http://schemas.microsoft.com/office/2011/relationships/chartColorStyle" Target="colors675.xml"/><Relationship Id="rId3"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microsoft.com/office/2011/relationships/chartStyle" Target="style676.xml"/><Relationship Id="rId2" Type="http://schemas.microsoft.com/office/2011/relationships/chartColorStyle" Target="colors676.xml"/><Relationship Id="rId3"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microsoft.com/office/2011/relationships/chartStyle" Target="style677.xml"/><Relationship Id="rId2" Type="http://schemas.microsoft.com/office/2011/relationships/chartColorStyle" Target="colors677.xml"/><Relationship Id="rId3"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microsoft.com/office/2011/relationships/chartStyle" Target="style678.xml"/><Relationship Id="rId2" Type="http://schemas.microsoft.com/office/2011/relationships/chartColorStyle" Target="colors678.xml"/><Relationship Id="rId3"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microsoft.com/office/2011/relationships/chartStyle" Target="style679.xml"/><Relationship Id="rId2" Type="http://schemas.microsoft.com/office/2011/relationships/chartColorStyle" Target="colors679.xml"/><Relationship Id="rId3"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microsoft.com/office/2011/relationships/chartStyle" Target="style680.xml"/><Relationship Id="rId2" Type="http://schemas.microsoft.com/office/2011/relationships/chartColorStyle" Target="colors680.xml"/><Relationship Id="rId3" Type="http://schemas.openxmlformats.org/officeDocument/2006/relationships/package" Target="../embeddings/Microsoft_Excel_Worksheet894.xlsx"/></Relationships>
</file>

<file path=ppt/charts/_rels/chart897.xml.rels><?xml version='1.0' encoding='UTF-8' standalone='yes'?>
<Relationships xmlns="http://schemas.openxmlformats.org/package/2006/relationships"><Relationship Id="rId1" Type="http://schemas.microsoft.com/office/2011/relationships/chartStyle" Target="style682.xml"/><Relationship Id="rId2" Type="http://schemas.microsoft.com/office/2011/relationships/chartColorStyle" Target="colors682.xml"/><Relationship Id="rId3" Type="http://schemas.openxmlformats.org/officeDocument/2006/relationships/package" Target="../embeddings/Microsoft_Excel_Worksheet896.xlsx"/></Relationships>
</file>

<file path=ppt/charts/_rels/chart899.xml.rels><?xml version='1.0' encoding='UTF-8' standalone='yes'?>
<Relationships xmlns="http://schemas.openxmlformats.org/package/2006/relationships"><Relationship Id="rId1" Type="http://schemas.microsoft.com/office/2011/relationships/chartStyle" Target="style684.xml"/><Relationship Id="rId2" Type="http://schemas.microsoft.com/office/2011/relationships/chartColorStyle" Target="colors684.xml"/><Relationship Id="rId3"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0.xml.rels><?xml version='1.0' encoding='UTF-8' standalone='yes'?>
<Relationships xmlns="http://schemas.openxmlformats.org/package/2006/relationships"><Relationship Id="rId1" Type="http://schemas.microsoft.com/office/2011/relationships/chartStyle" Target="style685.xml"/><Relationship Id="rId2" Type="http://schemas.microsoft.com/office/2011/relationships/chartColorStyle" Target="colors685.xml"/><Relationship Id="rId3"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microsoft.com/office/2011/relationships/chartStyle" Target="style686.xml"/><Relationship Id="rId2" Type="http://schemas.microsoft.com/office/2011/relationships/chartColorStyle" Target="colors686.xml"/><Relationship Id="rId3"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microsoft.com/office/2011/relationships/chartStyle" Target="style687.xml"/><Relationship Id="rId2" Type="http://schemas.microsoft.com/office/2011/relationships/chartColorStyle" Target="colors687.xml"/><Relationship Id="rId3"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microsoft.com/office/2011/relationships/chartStyle" Target="style688.xml"/><Relationship Id="rId2" Type="http://schemas.microsoft.com/office/2011/relationships/chartColorStyle" Target="colors688.xml"/><Relationship Id="rId3"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microsoft.com/office/2011/relationships/chartStyle" Target="style689.xml"/><Relationship Id="rId2" Type="http://schemas.microsoft.com/office/2011/relationships/chartColorStyle" Target="colors689.xml"/><Relationship Id="rId3"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microsoft.com/office/2011/relationships/chartStyle" Target="style690.xml"/><Relationship Id="rId2" Type="http://schemas.microsoft.com/office/2011/relationships/chartColorStyle" Target="colors690.xml"/><Relationship Id="rId3" Type="http://schemas.openxmlformats.org/officeDocument/2006/relationships/package" Target="../embeddings/Microsoft_Excel_Worksheet904.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25,1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40,9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44,9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25153</c:v>
                </c:pt>
                <c:pt idx="1">
                  <c:v>1920101</c:v>
                </c:pt>
                <c:pt idx="2">
                  <c:v>1908557</c:v>
                </c:pt>
                <c:pt idx="3">
                  <c:v>1909137</c:v>
                </c:pt>
                <c:pt idx="4">
                  <c:v>1996511</c:v>
                </c:pt>
                <c:pt idx="5">
                  <c:v>2118765</c:v>
                </c:pt>
                <c:pt idx="6">
                  <c:v>1977395</c:v>
                </c:pt>
                <c:pt idx="7">
                  <c:v>2099608</c:v>
                </c:pt>
                <c:pt idx="8">
                  <c:v>1995665</c:v>
                </c:pt>
                <c:pt idx="9">
                  <c:v>2244831</c:v>
                </c:pt>
                <c:pt idx="10">
                  <c:v>2442830</c:v>
                </c:pt>
                <c:pt idx="11">
                  <c:v>2820873</c:v>
                </c:pt>
                <c:pt idx="12">
                  <c:v>2595314</c:v>
                </c:pt>
                <c:pt idx="13">
                  <c:v>2240925</c:v>
                </c:pt>
                <c:pt idx="14">
                  <c:v>2298711</c:v>
                </c:pt>
                <c:pt idx="15">
                  <c:v>2202374</c:v>
                </c:pt>
                <c:pt idx="16">
                  <c:v>2220727</c:v>
                </c:pt>
                <c:pt idx="17">
                  <c:v>2227892</c:v>
                </c:pt>
                <c:pt idx="18">
                  <c:v>2361247</c:v>
                </c:pt>
                <c:pt idx="19">
                  <c:v>2885163</c:v>
                </c:pt>
                <c:pt idx="20">
                  <c:v>2836016</c:v>
                </c:pt>
                <c:pt idx="21">
                  <c:v>2800163</c:v>
                </c:pt>
                <c:pt idx="22">
                  <c:v>2769612</c:v>
                </c:pt>
                <c:pt idx="23">
                  <c:v>2868656</c:v>
                </c:pt>
                <c:pt idx="24">
                  <c:v>25449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3</c:v>
                </c:pt>
                <c:pt idx="1">
                  <c:v>2.84</c:v>
                </c:pt>
                <c:pt idx="2">
                  <c:v>2.82</c:v>
                </c:pt>
                <c:pt idx="3">
                  <c:v>2.77</c:v>
                </c:pt>
                <c:pt idx="4">
                  <c:v>2.85</c:v>
                </c:pt>
                <c:pt idx="5">
                  <c:v>2.86</c:v>
                </c:pt>
                <c:pt idx="6">
                  <c:v>2.9</c:v>
                </c:pt>
                <c:pt idx="7">
                  <c:v>2.77</c:v>
                </c:pt>
                <c:pt idx="8">
                  <c:v>2.77</c:v>
                </c:pt>
                <c:pt idx="9">
                  <c:v>2.66</c:v>
                </c:pt>
                <c:pt idx="10">
                  <c:v>2.6</c:v>
                </c:pt>
                <c:pt idx="11">
                  <c:v>2.66</c:v>
                </c:pt>
                <c:pt idx="12">
                  <c:v>2.72</c:v>
                </c:pt>
                <c:pt idx="13">
                  <c:v>2.56</c:v>
                </c:pt>
                <c:pt idx="14">
                  <c:v>2.41</c:v>
                </c:pt>
                <c:pt idx="15">
                  <c:v>2.39</c:v>
                </c:pt>
                <c:pt idx="16">
                  <c:v>2.51</c:v>
                </c:pt>
                <c:pt idx="17">
                  <c:v>2.51</c:v>
                </c:pt>
                <c:pt idx="18">
                  <c:v>2.53</c:v>
                </c:pt>
                <c:pt idx="19">
                  <c:v>2.53</c:v>
                </c:pt>
                <c:pt idx="20">
                  <c:v>2.52</c:v>
                </c:pt>
                <c:pt idx="21">
                  <c:v>2.61</c:v>
                </c:pt>
                <c:pt idx="22">
                  <c:v>2.7</c:v>
                </c:pt>
                <c:pt idx="23">
                  <c:v>2.64</c:v>
                </c:pt>
                <c:pt idx="24">
                  <c:v>2.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3,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7,6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1,5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13519</c:v>
                </c:pt>
                <c:pt idx="1">
                  <c:v>305331</c:v>
                </c:pt>
                <c:pt idx="2">
                  <c:v>411022</c:v>
                </c:pt>
                <c:pt idx="3">
                  <c:v>265188</c:v>
                </c:pt>
                <c:pt idx="4">
                  <c:v>266597</c:v>
                </c:pt>
                <c:pt idx="5">
                  <c:v>259374</c:v>
                </c:pt>
                <c:pt idx="6">
                  <c:v>289292</c:v>
                </c:pt>
                <c:pt idx="7">
                  <c:v>226608</c:v>
                </c:pt>
                <c:pt idx="8">
                  <c:v>157459</c:v>
                </c:pt>
                <c:pt idx="9">
                  <c:v>174696</c:v>
                </c:pt>
                <c:pt idx="10">
                  <c:v>168814</c:v>
                </c:pt>
                <c:pt idx="11">
                  <c:v>402879</c:v>
                </c:pt>
                <c:pt idx="12">
                  <c:v>251892</c:v>
                </c:pt>
                <c:pt idx="13">
                  <c:v>247636</c:v>
                </c:pt>
                <c:pt idx="14">
                  <c:v>308302</c:v>
                </c:pt>
                <c:pt idx="15">
                  <c:v>279800</c:v>
                </c:pt>
                <c:pt idx="16">
                  <c:v>357927</c:v>
                </c:pt>
                <c:pt idx="17">
                  <c:v>296020</c:v>
                </c:pt>
                <c:pt idx="18">
                  <c:v>280661</c:v>
                </c:pt>
                <c:pt idx="19">
                  <c:v>360449</c:v>
                </c:pt>
                <c:pt idx="20">
                  <c:v>354288</c:v>
                </c:pt>
                <c:pt idx="21">
                  <c:v>429061</c:v>
                </c:pt>
                <c:pt idx="22">
                  <c:v>368909</c:v>
                </c:pt>
                <c:pt idx="23">
                  <c:v>584975</c:v>
                </c:pt>
                <c:pt idx="24">
                  <c:v>3915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62</c:v>
                </c:pt>
                <c:pt idx="1">
                  <c:v>5.21</c:v>
                </c:pt>
                <c:pt idx="2">
                  <c:v>4.37</c:v>
                </c:pt>
                <c:pt idx="3">
                  <c:v>4.98</c:v>
                </c:pt>
                <c:pt idx="4">
                  <c:v>5.21</c:v>
                </c:pt>
                <c:pt idx="5">
                  <c:v>5.63</c:v>
                </c:pt>
                <c:pt idx="6">
                  <c:v>4.71</c:v>
                </c:pt>
                <c:pt idx="7">
                  <c:v>5.21</c:v>
                </c:pt>
                <c:pt idx="8">
                  <c:v>5.29</c:v>
                </c:pt>
                <c:pt idx="9">
                  <c:v>4.63</c:v>
                </c:pt>
                <c:pt idx="10">
                  <c:v>5.11</c:v>
                </c:pt>
                <c:pt idx="11">
                  <c:v>4.06</c:v>
                </c:pt>
                <c:pt idx="12">
                  <c:v>4.72</c:v>
                </c:pt>
                <c:pt idx="13">
                  <c:v>4.83</c:v>
                </c:pt>
                <c:pt idx="14">
                  <c:v>3.84</c:v>
                </c:pt>
                <c:pt idx="15">
                  <c:v>4.29</c:v>
                </c:pt>
                <c:pt idx="16">
                  <c:v>4.44</c:v>
                </c:pt>
                <c:pt idx="17">
                  <c:v>4.53</c:v>
                </c:pt>
                <c:pt idx="18">
                  <c:v>4.44</c:v>
                </c:pt>
                <c:pt idx="19">
                  <c:v>3.77</c:v>
                </c:pt>
                <c:pt idx="20">
                  <c:v>4.09</c:v>
                </c:pt>
                <c:pt idx="21">
                  <c:v>3.97</c:v>
                </c:pt>
                <c:pt idx="22">
                  <c:v>4.57</c:v>
                </c:pt>
                <c:pt idx="23">
                  <c:v>3.63</c:v>
                </c:pt>
                <c:pt idx="24">
                  <c:v>3.9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6,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3,5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9,5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6167</c:v>
                </c:pt>
                <c:pt idx="1">
                  <c:v>294472</c:v>
                </c:pt>
                <c:pt idx="2">
                  <c:v>261992</c:v>
                </c:pt>
                <c:pt idx="3">
                  <c:v>280764</c:v>
                </c:pt>
                <c:pt idx="4">
                  <c:v>263051</c:v>
                </c:pt>
                <c:pt idx="5">
                  <c:v>263271</c:v>
                </c:pt>
                <c:pt idx="6">
                  <c:v>268241</c:v>
                </c:pt>
                <c:pt idx="7">
                  <c:v>294752</c:v>
                </c:pt>
                <c:pt idx="8">
                  <c:v>306637</c:v>
                </c:pt>
                <c:pt idx="9">
                  <c:v>351708</c:v>
                </c:pt>
                <c:pt idx="10">
                  <c:v>443581</c:v>
                </c:pt>
                <c:pt idx="11">
                  <c:v>355954</c:v>
                </c:pt>
                <c:pt idx="12">
                  <c:v>314209</c:v>
                </c:pt>
                <c:pt idx="13">
                  <c:v>303574</c:v>
                </c:pt>
                <c:pt idx="14">
                  <c:v>270449</c:v>
                </c:pt>
                <c:pt idx="15">
                  <c:v>245262</c:v>
                </c:pt>
                <c:pt idx="16">
                  <c:v>259979</c:v>
                </c:pt>
                <c:pt idx="17">
                  <c:v>231896</c:v>
                </c:pt>
                <c:pt idx="18">
                  <c:v>291292</c:v>
                </c:pt>
                <c:pt idx="19">
                  <c:v>362836</c:v>
                </c:pt>
                <c:pt idx="20">
                  <c:v>395856</c:v>
                </c:pt>
                <c:pt idx="21">
                  <c:v>423313</c:v>
                </c:pt>
                <c:pt idx="22">
                  <c:v>468562</c:v>
                </c:pt>
                <c:pt idx="23">
                  <c:v>476029</c:v>
                </c:pt>
                <c:pt idx="24">
                  <c:v>3995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6</c:v>
                </c:pt>
                <c:pt idx="1">
                  <c:v>1.51</c:v>
                </c:pt>
                <c:pt idx="2">
                  <c:v>1.37</c:v>
                </c:pt>
                <c:pt idx="3">
                  <c:v>1.04</c:v>
                </c:pt>
                <c:pt idx="4">
                  <c:v>1.34</c:v>
                </c:pt>
                <c:pt idx="5">
                  <c:v>1.23</c:v>
                </c:pt>
                <c:pt idx="6">
                  <c:v>1.2</c:v>
                </c:pt>
                <c:pt idx="7">
                  <c:v>1.72</c:v>
                </c:pt>
                <c:pt idx="8">
                  <c:v>1.77</c:v>
                </c:pt>
                <c:pt idx="9">
                  <c:v>1.83</c:v>
                </c:pt>
                <c:pt idx="10">
                  <c:v>2.02</c:v>
                </c:pt>
                <c:pt idx="11">
                  <c:v>1.93</c:v>
                </c:pt>
                <c:pt idx="12">
                  <c:v>2.02</c:v>
                </c:pt>
                <c:pt idx="13">
                  <c:v>2.09</c:v>
                </c:pt>
                <c:pt idx="14">
                  <c:v>1.66</c:v>
                </c:pt>
                <c:pt idx="15">
                  <c:v>2.07</c:v>
                </c:pt>
                <c:pt idx="16">
                  <c:v>1.9</c:v>
                </c:pt>
                <c:pt idx="17">
                  <c:v>2.22</c:v>
                </c:pt>
                <c:pt idx="18">
                  <c:v>2.49</c:v>
                </c:pt>
                <c:pt idx="19">
                  <c:v>2.54</c:v>
                </c:pt>
                <c:pt idx="20">
                  <c:v>2.56</c:v>
                </c:pt>
                <c:pt idx="21">
                  <c:v>2.47</c:v>
                </c:pt>
                <c:pt idx="22">
                  <c:v>2.59</c:v>
                </c:pt>
                <c:pt idx="23">
                  <c:v>2.7</c:v>
                </c:pt>
                <c:pt idx="24">
                  <c:v>2.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3,0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47,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97,8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03060</c:v>
                </c:pt>
                <c:pt idx="1">
                  <c:v>1159449</c:v>
                </c:pt>
                <c:pt idx="2">
                  <c:v>1431958</c:v>
                </c:pt>
                <c:pt idx="3">
                  <c:v>1036110</c:v>
                </c:pt>
                <c:pt idx="4">
                  <c:v>1124658</c:v>
                </c:pt>
                <c:pt idx="5">
                  <c:v>967190</c:v>
                </c:pt>
                <c:pt idx="6">
                  <c:v>1260329</c:v>
                </c:pt>
                <c:pt idx="7">
                  <c:v>1946139</c:v>
                </c:pt>
                <c:pt idx="8">
                  <c:v>1539928</c:v>
                </c:pt>
                <c:pt idx="9">
                  <c:v>1459709</c:v>
                </c:pt>
                <c:pt idx="10">
                  <c:v>2002431</c:v>
                </c:pt>
                <c:pt idx="11">
                  <c:v>1734186</c:v>
                </c:pt>
                <c:pt idx="12">
                  <c:v>1450057</c:v>
                </c:pt>
                <c:pt idx="13">
                  <c:v>1147505</c:v>
                </c:pt>
                <c:pt idx="14">
                  <c:v>1434440</c:v>
                </c:pt>
                <c:pt idx="15">
                  <c:v>1005808</c:v>
                </c:pt>
                <c:pt idx="16">
                  <c:v>1194246</c:v>
                </c:pt>
                <c:pt idx="17">
                  <c:v>822411</c:v>
                </c:pt>
                <c:pt idx="18">
                  <c:v>785893</c:v>
                </c:pt>
                <c:pt idx="19">
                  <c:v>963298</c:v>
                </c:pt>
                <c:pt idx="20">
                  <c:v>1010875</c:v>
                </c:pt>
                <c:pt idx="21">
                  <c:v>1082127</c:v>
                </c:pt>
                <c:pt idx="22">
                  <c:v>1425326</c:v>
                </c:pt>
                <c:pt idx="23">
                  <c:v>1570582</c:v>
                </c:pt>
                <c:pt idx="24">
                  <c:v>139783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5</c:v>
                </c:pt>
                <c:pt idx="1">
                  <c:v>3.5</c:v>
                </c:pt>
                <c:pt idx="2">
                  <c:v>3.06</c:v>
                </c:pt>
                <c:pt idx="3">
                  <c:v>3.27</c:v>
                </c:pt>
                <c:pt idx="4">
                  <c:v>3.49</c:v>
                </c:pt>
                <c:pt idx="5">
                  <c:v>3.66</c:v>
                </c:pt>
                <c:pt idx="6">
                  <c:v>2.92</c:v>
                </c:pt>
                <c:pt idx="7">
                  <c:v>3.12</c:v>
                </c:pt>
                <c:pt idx="8">
                  <c:v>3.18</c:v>
                </c:pt>
                <c:pt idx="9">
                  <c:v>3.38</c:v>
                </c:pt>
                <c:pt idx="10">
                  <c:v>3.03</c:v>
                </c:pt>
                <c:pt idx="11">
                  <c:v>3.25</c:v>
                </c:pt>
                <c:pt idx="12">
                  <c:v>3.48</c:v>
                </c:pt>
                <c:pt idx="13">
                  <c:v>3.65</c:v>
                </c:pt>
                <c:pt idx="14">
                  <c:v>3.07</c:v>
                </c:pt>
                <c:pt idx="15">
                  <c:v>3.33</c:v>
                </c:pt>
                <c:pt idx="16">
                  <c:v>3.38</c:v>
                </c:pt>
                <c:pt idx="17">
                  <c:v>3.91</c:v>
                </c:pt>
                <c:pt idx="18">
                  <c:v>3.82</c:v>
                </c:pt>
                <c:pt idx="19">
                  <c:v>3.75</c:v>
                </c:pt>
                <c:pt idx="20">
                  <c:v>3.49</c:v>
                </c:pt>
                <c:pt idx="21">
                  <c:v>3.55</c:v>
                </c:pt>
                <c:pt idx="22">
                  <c:v>3.04</c:v>
                </c:pt>
                <c:pt idx="23">
                  <c:v>3.0</c:v>
                </c:pt>
                <c:pt idx="24">
                  <c:v>2.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09,8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84,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22,1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09899</c:v>
                </c:pt>
                <c:pt idx="1">
                  <c:v>2388413</c:v>
                </c:pt>
                <c:pt idx="2">
                  <c:v>2211630</c:v>
                </c:pt>
                <c:pt idx="3">
                  <c:v>1889975</c:v>
                </c:pt>
                <c:pt idx="4">
                  <c:v>2299269</c:v>
                </c:pt>
                <c:pt idx="5">
                  <c:v>2138368</c:v>
                </c:pt>
                <c:pt idx="6">
                  <c:v>1986631</c:v>
                </c:pt>
                <c:pt idx="7">
                  <c:v>2785642</c:v>
                </c:pt>
                <c:pt idx="8">
                  <c:v>2617272</c:v>
                </c:pt>
                <c:pt idx="9">
                  <c:v>2881521</c:v>
                </c:pt>
                <c:pt idx="10">
                  <c:v>2996035</c:v>
                </c:pt>
                <c:pt idx="11">
                  <c:v>3135287</c:v>
                </c:pt>
                <c:pt idx="12">
                  <c:v>2836911</c:v>
                </c:pt>
                <c:pt idx="13">
                  <c:v>2484066</c:v>
                </c:pt>
                <c:pt idx="14">
                  <c:v>2245936</c:v>
                </c:pt>
                <c:pt idx="15">
                  <c:v>2005200</c:v>
                </c:pt>
                <c:pt idx="16">
                  <c:v>2399222</c:v>
                </c:pt>
                <c:pt idx="17">
                  <c:v>2058394</c:v>
                </c:pt>
                <c:pt idx="18">
                  <c:v>2044865</c:v>
                </c:pt>
                <c:pt idx="19">
                  <c:v>2381547</c:v>
                </c:pt>
                <c:pt idx="20">
                  <c:v>2359298</c:v>
                </c:pt>
                <c:pt idx="21">
                  <c:v>2678703</c:v>
                </c:pt>
                <c:pt idx="22">
                  <c:v>2965992</c:v>
                </c:pt>
                <c:pt idx="23">
                  <c:v>3000711</c:v>
                </c:pt>
                <c:pt idx="24">
                  <c:v>29221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52</c:v>
                </c:pt>
                <c:pt idx="1">
                  <c:v>5.46</c:v>
                </c:pt>
                <c:pt idx="2">
                  <c:v>5.39</c:v>
                </c:pt>
                <c:pt idx="3">
                  <c:v>5.48</c:v>
                </c:pt>
                <c:pt idx="4">
                  <c:v>5.46</c:v>
                </c:pt>
                <c:pt idx="5">
                  <c:v>5.24</c:v>
                </c:pt>
                <c:pt idx="6">
                  <c:v>5.27</c:v>
                </c:pt>
                <c:pt idx="7">
                  <c:v>5.41</c:v>
                </c:pt>
                <c:pt idx="8">
                  <c:v>5.45</c:v>
                </c:pt>
                <c:pt idx="9">
                  <c:v>5.51</c:v>
                </c:pt>
                <c:pt idx="10">
                  <c:v>5.37</c:v>
                </c:pt>
                <c:pt idx="11">
                  <c:v>5.49</c:v>
                </c:pt>
                <c:pt idx="12">
                  <c:v>5.41</c:v>
                </c:pt>
                <c:pt idx="13">
                  <c:v>5.5</c:v>
                </c:pt>
                <c:pt idx="14">
                  <c:v>5.39</c:v>
                </c:pt>
                <c:pt idx="15">
                  <c:v>5.36</c:v>
                </c:pt>
                <c:pt idx="16">
                  <c:v>5.19</c:v>
                </c:pt>
                <c:pt idx="17">
                  <c:v>5.32</c:v>
                </c:pt>
                <c:pt idx="18">
                  <c:v>5.15</c:v>
                </c:pt>
                <c:pt idx="19">
                  <c:v>5.12</c:v>
                </c:pt>
                <c:pt idx="20">
                  <c:v>5.13</c:v>
                </c:pt>
                <c:pt idx="21">
                  <c:v>5.1</c:v>
                </c:pt>
                <c:pt idx="22">
                  <c:v>5.17</c:v>
                </c:pt>
                <c:pt idx="23">
                  <c:v>5.14</c:v>
                </c:pt>
                <c:pt idx="24">
                  <c:v>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2"/>
              <c:tx>
                <c:rich>
                  <a:bodyPr/>
                  <a:lstStyle/>
                  <a:p>
                    <a:r>
                      <a:t>Value Sales </a:t>
                    </a:r>
                  </a:p>
                  <a:p>
                    <a:r>
                      <a:t> 5</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B$2:$B$4</c:f>
              <c:numCache>
                <c:formatCode>General</c:formatCode>
                <c:ptCount val="3"/>
                <c:pt idx="0">
                  <c:v>12</c:v>
                </c:pt>
                <c:pt idx="1">
                  <c:v>5</c:v>
                </c:pt>
                <c:pt idx="2">
                  <c:v>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2"/>
              <c:tx>
                <c:rich>
                  <a:bodyPr/>
                  <a:lstStyle/>
                  <a:p>
                    <a:r>
                      <a:t>Av Price/KG </a:t>
                    </a:r>
                  </a:p>
                  <a:p>
                    <a:r>
                      <a:t> $ 2.5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C$2:$C$4</c:f>
              <c:numCache>
                <c:formatCode>General</c:formatCode>
                <c:ptCount val="3"/>
                <c:pt idx="0">
                  <c:v>6.0</c:v>
                </c:pt>
                <c:pt idx="1">
                  <c:v>1.67</c:v>
                </c:pt>
                <c:pt idx="2">
                  <c:v>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5,0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2,9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012</c:v>
                </c:pt>
                <c:pt idx="1">
                  <c:v>67829</c:v>
                </c:pt>
                <c:pt idx="2">
                  <c:v>78962</c:v>
                </c:pt>
                <c:pt idx="3">
                  <c:v>66187</c:v>
                </c:pt>
                <c:pt idx="4">
                  <c:v>72029</c:v>
                </c:pt>
                <c:pt idx="5">
                  <c:v>74310</c:v>
                </c:pt>
                <c:pt idx="6">
                  <c:v>70759</c:v>
                </c:pt>
                <c:pt idx="7">
                  <c:v>83710</c:v>
                </c:pt>
                <c:pt idx="8">
                  <c:v>91141</c:v>
                </c:pt>
                <c:pt idx="9">
                  <c:v>93197</c:v>
                </c:pt>
                <c:pt idx="10">
                  <c:v>94330</c:v>
                </c:pt>
                <c:pt idx="11">
                  <c:v>88532</c:v>
                </c:pt>
                <c:pt idx="12">
                  <c:v>76366</c:v>
                </c:pt>
                <c:pt idx="13">
                  <c:v>75005</c:v>
                </c:pt>
                <c:pt idx="14">
                  <c:v>68541</c:v>
                </c:pt>
                <c:pt idx="15">
                  <c:v>68548</c:v>
                </c:pt>
                <c:pt idx="16">
                  <c:v>95474</c:v>
                </c:pt>
                <c:pt idx="17">
                  <c:v>91505</c:v>
                </c:pt>
                <c:pt idx="18">
                  <c:v>56161</c:v>
                </c:pt>
                <c:pt idx="19">
                  <c:v>56181</c:v>
                </c:pt>
                <c:pt idx="20">
                  <c:v>53310</c:v>
                </c:pt>
                <c:pt idx="21">
                  <c:v>54779</c:v>
                </c:pt>
                <c:pt idx="22">
                  <c:v>58188</c:v>
                </c:pt>
                <c:pt idx="23">
                  <c:v>51511</c:v>
                </c:pt>
                <c:pt idx="24">
                  <c:v>5295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12</c:v>
                </c:pt>
                <c:pt idx="1">
                  <c:v>10.76</c:v>
                </c:pt>
                <c:pt idx="2">
                  <c:v>21.18</c:v>
                </c:pt>
                <c:pt idx="3">
                  <c:v>27.97</c:v>
                </c:pt>
                <c:pt idx="4">
                  <c:v>28.82</c:v>
                </c:pt>
                <c:pt idx="5">
                  <c:v>29.3</c:v>
                </c:pt>
                <c:pt idx="6">
                  <c:v>29.36</c:v>
                </c:pt>
                <c:pt idx="7">
                  <c:v>28.32</c:v>
                </c:pt>
                <c:pt idx="8">
                  <c:v>23.8</c:v>
                </c:pt>
                <c:pt idx="9">
                  <c:v>21.68</c:v>
                </c:pt>
                <c:pt idx="10">
                  <c:v>20.59</c:v>
                </c:pt>
                <c:pt idx="11">
                  <c:v>19.1</c:v>
                </c:pt>
                <c:pt idx="12">
                  <c:v>19.33</c:v>
                </c:pt>
                <c:pt idx="13">
                  <c:v>19.32</c:v>
                </c:pt>
                <c:pt idx="14">
                  <c:v>18.73</c:v>
                </c:pt>
                <c:pt idx="15">
                  <c:v>18.29</c:v>
                </c:pt>
                <c:pt idx="16">
                  <c:v>12.55</c:v>
                </c:pt>
                <c:pt idx="17">
                  <c:v>7.13</c:v>
                </c:pt>
                <c:pt idx="18">
                  <c:v>18.04</c:v>
                </c:pt>
                <c:pt idx="19">
                  <c:v>17.78</c:v>
                </c:pt>
                <c:pt idx="20">
                  <c:v>16.82</c:v>
                </c:pt>
                <c:pt idx="21">
                  <c:v>17.32</c:v>
                </c:pt>
                <c:pt idx="22">
                  <c:v>15.76</c:v>
                </c:pt>
                <c:pt idx="23">
                  <c:v>14.21</c:v>
                </c:pt>
                <c:pt idx="24">
                  <c:v>14.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4,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2,1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8,4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4849</c:v>
                </c:pt>
                <c:pt idx="1">
                  <c:v>263731</c:v>
                </c:pt>
                <c:pt idx="2">
                  <c:v>259921</c:v>
                </c:pt>
                <c:pt idx="3">
                  <c:v>261831</c:v>
                </c:pt>
                <c:pt idx="4">
                  <c:v>320738</c:v>
                </c:pt>
                <c:pt idx="5">
                  <c:v>274227</c:v>
                </c:pt>
                <c:pt idx="6">
                  <c:v>258633</c:v>
                </c:pt>
                <c:pt idx="7">
                  <c:v>312597</c:v>
                </c:pt>
                <c:pt idx="8">
                  <c:v>299619</c:v>
                </c:pt>
                <c:pt idx="9">
                  <c:v>289852</c:v>
                </c:pt>
                <c:pt idx="10">
                  <c:v>294369</c:v>
                </c:pt>
                <c:pt idx="11">
                  <c:v>314433</c:v>
                </c:pt>
                <c:pt idx="12">
                  <c:v>335032</c:v>
                </c:pt>
                <c:pt idx="13">
                  <c:v>302188</c:v>
                </c:pt>
                <c:pt idx="14">
                  <c:v>311273</c:v>
                </c:pt>
                <c:pt idx="15">
                  <c:v>288822</c:v>
                </c:pt>
                <c:pt idx="16">
                  <c:v>325445</c:v>
                </c:pt>
                <c:pt idx="17">
                  <c:v>285805</c:v>
                </c:pt>
                <c:pt idx="18">
                  <c:v>275569</c:v>
                </c:pt>
                <c:pt idx="19">
                  <c:v>291639</c:v>
                </c:pt>
                <c:pt idx="20">
                  <c:v>278573</c:v>
                </c:pt>
                <c:pt idx="21">
                  <c:v>295122</c:v>
                </c:pt>
                <c:pt idx="22">
                  <c:v>293219</c:v>
                </c:pt>
                <c:pt idx="23">
                  <c:v>305647</c:v>
                </c:pt>
                <c:pt idx="24">
                  <c:v>30845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5</c:v>
                </c:pt>
                <c:pt idx="1">
                  <c:v>1.44</c:v>
                </c:pt>
                <c:pt idx="2">
                  <c:v>1.43</c:v>
                </c:pt>
                <c:pt idx="3">
                  <c:v>1.43</c:v>
                </c:pt>
                <c:pt idx="4">
                  <c:v>1.45</c:v>
                </c:pt>
                <c:pt idx="5">
                  <c:v>1.42</c:v>
                </c:pt>
                <c:pt idx="6">
                  <c:v>1.48</c:v>
                </c:pt>
                <c:pt idx="7">
                  <c:v>1.52</c:v>
                </c:pt>
                <c:pt idx="8">
                  <c:v>1.54</c:v>
                </c:pt>
                <c:pt idx="9">
                  <c:v>1.51</c:v>
                </c:pt>
                <c:pt idx="10">
                  <c:v>1.51</c:v>
                </c:pt>
                <c:pt idx="11">
                  <c:v>1.49</c:v>
                </c:pt>
                <c:pt idx="12">
                  <c:v>1.52</c:v>
                </c:pt>
                <c:pt idx="13">
                  <c:v>1.51</c:v>
                </c:pt>
                <c:pt idx="14">
                  <c:v>1.51</c:v>
                </c:pt>
                <c:pt idx="15">
                  <c:v>1.53</c:v>
                </c:pt>
                <c:pt idx="16">
                  <c:v>1.5</c:v>
                </c:pt>
                <c:pt idx="17">
                  <c:v>1.47</c:v>
                </c:pt>
                <c:pt idx="18">
                  <c:v>1.48</c:v>
                </c:pt>
                <c:pt idx="19">
                  <c:v>1.5</c:v>
                </c:pt>
                <c:pt idx="20">
                  <c:v>1.51</c:v>
                </c:pt>
                <c:pt idx="21">
                  <c:v>1.53</c:v>
                </c:pt>
                <c:pt idx="22">
                  <c:v>1.55</c:v>
                </c:pt>
                <c:pt idx="23">
                  <c:v>1.54</c:v>
                </c:pt>
                <c:pt idx="24">
                  <c:v>1.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02,4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62,7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37,1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02473</c:v>
                </c:pt>
                <c:pt idx="1">
                  <c:v>5526188</c:v>
                </c:pt>
                <c:pt idx="2">
                  <c:v>5519816</c:v>
                </c:pt>
                <c:pt idx="3">
                  <c:v>5186805</c:v>
                </c:pt>
                <c:pt idx="4">
                  <c:v>6582845</c:v>
                </c:pt>
                <c:pt idx="5">
                  <c:v>5665574</c:v>
                </c:pt>
                <c:pt idx="6">
                  <c:v>5347258</c:v>
                </c:pt>
                <c:pt idx="7">
                  <c:v>6769729</c:v>
                </c:pt>
                <c:pt idx="8">
                  <c:v>6415310</c:v>
                </c:pt>
                <c:pt idx="9">
                  <c:v>6287954</c:v>
                </c:pt>
                <c:pt idx="10">
                  <c:v>5934273</c:v>
                </c:pt>
                <c:pt idx="11">
                  <c:v>6201380</c:v>
                </c:pt>
                <c:pt idx="12">
                  <c:v>6556824</c:v>
                </c:pt>
                <c:pt idx="13">
                  <c:v>5962795</c:v>
                </c:pt>
                <c:pt idx="14">
                  <c:v>6222143</c:v>
                </c:pt>
                <c:pt idx="15">
                  <c:v>5841391</c:v>
                </c:pt>
                <c:pt idx="16">
                  <c:v>6821136</c:v>
                </c:pt>
                <c:pt idx="17">
                  <c:v>6132123</c:v>
                </c:pt>
                <c:pt idx="18">
                  <c:v>6047204</c:v>
                </c:pt>
                <c:pt idx="19">
                  <c:v>6814131</c:v>
                </c:pt>
                <c:pt idx="20">
                  <c:v>6539571</c:v>
                </c:pt>
                <c:pt idx="21">
                  <c:v>7025361</c:v>
                </c:pt>
                <c:pt idx="22">
                  <c:v>6953366</c:v>
                </c:pt>
                <c:pt idx="23">
                  <c:v>7120591</c:v>
                </c:pt>
                <c:pt idx="24">
                  <c:v>723710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7</c:v>
                </c:pt>
                <c:pt idx="1">
                  <c:v>1.87</c:v>
                </c:pt>
                <c:pt idx="2">
                  <c:v>1.87</c:v>
                </c:pt>
                <c:pt idx="3">
                  <c:v>1.86</c:v>
                </c:pt>
                <c:pt idx="4">
                  <c:v>1.9</c:v>
                </c:pt>
                <c:pt idx="5">
                  <c:v>1.89</c:v>
                </c:pt>
                <c:pt idx="6">
                  <c:v>1.87</c:v>
                </c:pt>
                <c:pt idx="7">
                  <c:v>1.98</c:v>
                </c:pt>
                <c:pt idx="8">
                  <c:v>1.99</c:v>
                </c:pt>
                <c:pt idx="9">
                  <c:v>1.98</c:v>
                </c:pt>
                <c:pt idx="10">
                  <c:v>1.96</c:v>
                </c:pt>
                <c:pt idx="11">
                  <c:v>1.93</c:v>
                </c:pt>
                <c:pt idx="12">
                  <c:v>1.98</c:v>
                </c:pt>
                <c:pt idx="13">
                  <c:v>1.99</c:v>
                </c:pt>
                <c:pt idx="14">
                  <c:v>1.99</c:v>
                </c:pt>
                <c:pt idx="15">
                  <c:v>2.01</c:v>
                </c:pt>
                <c:pt idx="16">
                  <c:v>2.0</c:v>
                </c:pt>
                <c:pt idx="17">
                  <c:v>2.0</c:v>
                </c:pt>
                <c:pt idx="18">
                  <c:v>1.97</c:v>
                </c:pt>
                <c:pt idx="19">
                  <c:v>2.02</c:v>
                </c:pt>
                <c:pt idx="20">
                  <c:v>2.08</c:v>
                </c:pt>
                <c:pt idx="21">
                  <c:v>2.09</c:v>
                </c:pt>
                <c:pt idx="22">
                  <c:v>2.09</c:v>
                </c:pt>
                <c:pt idx="23">
                  <c:v>2.05</c:v>
                </c:pt>
                <c:pt idx="24">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4,3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8,5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34,4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4355</c:v>
                </c:pt>
                <c:pt idx="1">
                  <c:v>406864</c:v>
                </c:pt>
                <c:pt idx="2">
                  <c:v>386191</c:v>
                </c:pt>
                <c:pt idx="3">
                  <c:v>355293</c:v>
                </c:pt>
                <c:pt idx="4">
                  <c:v>391108</c:v>
                </c:pt>
                <c:pt idx="5">
                  <c:v>367431</c:v>
                </c:pt>
                <c:pt idx="6">
                  <c:v>362237</c:v>
                </c:pt>
                <c:pt idx="7">
                  <c:v>409861</c:v>
                </c:pt>
                <c:pt idx="8">
                  <c:v>408772</c:v>
                </c:pt>
                <c:pt idx="9">
                  <c:v>434489</c:v>
                </c:pt>
                <c:pt idx="10">
                  <c:v>457367</c:v>
                </c:pt>
                <c:pt idx="11">
                  <c:v>502672</c:v>
                </c:pt>
                <c:pt idx="12">
                  <c:v>507242</c:v>
                </c:pt>
                <c:pt idx="13">
                  <c:v>418526</c:v>
                </c:pt>
                <c:pt idx="14">
                  <c:v>414315</c:v>
                </c:pt>
                <c:pt idx="15">
                  <c:v>378473</c:v>
                </c:pt>
                <c:pt idx="16">
                  <c:v>413812</c:v>
                </c:pt>
                <c:pt idx="17">
                  <c:v>388898</c:v>
                </c:pt>
                <c:pt idx="18">
                  <c:v>414914</c:v>
                </c:pt>
                <c:pt idx="19">
                  <c:v>478040</c:v>
                </c:pt>
                <c:pt idx="20">
                  <c:v>456334</c:v>
                </c:pt>
                <c:pt idx="21">
                  <c:v>487956</c:v>
                </c:pt>
                <c:pt idx="22">
                  <c:v>524398</c:v>
                </c:pt>
                <c:pt idx="23">
                  <c:v>570677</c:v>
                </c:pt>
                <c:pt idx="24">
                  <c:v>53444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38</c:v>
                </c:pt>
                <c:pt idx="1">
                  <c:v>0.38</c:v>
                </c:pt>
                <c:pt idx="2">
                  <c:v>0.37</c:v>
                </c:pt>
                <c:pt idx="3">
                  <c:v>0.37</c:v>
                </c:pt>
                <c:pt idx="4">
                  <c:v>0.37</c:v>
                </c:pt>
                <c:pt idx="5">
                  <c:v>0.39</c:v>
                </c:pt>
                <c:pt idx="6">
                  <c:v>0.4</c:v>
                </c:pt>
                <c:pt idx="7">
                  <c:v>0.41</c:v>
                </c:pt>
                <c:pt idx="8">
                  <c:v>0.41</c:v>
                </c:pt>
                <c:pt idx="9">
                  <c:v>0.41</c:v>
                </c:pt>
                <c:pt idx="10">
                  <c:v>0.41</c:v>
                </c:pt>
                <c:pt idx="11">
                  <c:v>0.42</c:v>
                </c:pt>
                <c:pt idx="12">
                  <c:v>0.43</c:v>
                </c:pt>
                <c:pt idx="13">
                  <c:v>0.42</c:v>
                </c:pt>
                <c:pt idx="14">
                  <c:v>0.4</c:v>
                </c:pt>
                <c:pt idx="15">
                  <c:v>0.4</c:v>
                </c:pt>
                <c:pt idx="16">
                  <c:v>0.41</c:v>
                </c:pt>
                <c:pt idx="17">
                  <c:v>0.42</c:v>
                </c:pt>
                <c:pt idx="18">
                  <c:v>0.42</c:v>
                </c:pt>
                <c:pt idx="19">
                  <c:v>0.43</c:v>
                </c:pt>
                <c:pt idx="20">
                  <c:v>0.43</c:v>
                </c:pt>
                <c:pt idx="21">
                  <c:v>0.42</c:v>
                </c:pt>
                <c:pt idx="22">
                  <c:v>0.42</c:v>
                </c:pt>
                <c:pt idx="23">
                  <c:v>0.43</c:v>
                </c:pt>
                <c:pt idx="24">
                  <c:v>0.4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87,8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2,4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75,1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87816</c:v>
                </c:pt>
                <c:pt idx="1">
                  <c:v>474402</c:v>
                </c:pt>
                <c:pt idx="2">
                  <c:v>492448</c:v>
                </c:pt>
                <c:pt idx="3">
                  <c:v>495831</c:v>
                </c:pt>
                <c:pt idx="4">
                  <c:v>560295</c:v>
                </c:pt>
                <c:pt idx="5">
                  <c:v>414239</c:v>
                </c:pt>
                <c:pt idx="6">
                  <c:v>413113</c:v>
                </c:pt>
                <c:pt idx="7">
                  <c:v>492887</c:v>
                </c:pt>
                <c:pt idx="8">
                  <c:v>537501</c:v>
                </c:pt>
                <c:pt idx="9">
                  <c:v>573241</c:v>
                </c:pt>
                <c:pt idx="10">
                  <c:v>586804</c:v>
                </c:pt>
                <c:pt idx="11">
                  <c:v>602475</c:v>
                </c:pt>
                <c:pt idx="12">
                  <c:v>585713</c:v>
                </c:pt>
                <c:pt idx="13">
                  <c:v>462420</c:v>
                </c:pt>
                <c:pt idx="14">
                  <c:v>463050</c:v>
                </c:pt>
                <c:pt idx="15">
                  <c:v>447707</c:v>
                </c:pt>
                <c:pt idx="16">
                  <c:v>566201</c:v>
                </c:pt>
                <c:pt idx="17">
                  <c:v>375281</c:v>
                </c:pt>
                <c:pt idx="18">
                  <c:v>384379</c:v>
                </c:pt>
                <c:pt idx="19">
                  <c:v>433657</c:v>
                </c:pt>
                <c:pt idx="20">
                  <c:v>449667</c:v>
                </c:pt>
                <c:pt idx="21">
                  <c:v>477847</c:v>
                </c:pt>
                <c:pt idx="22">
                  <c:v>514559</c:v>
                </c:pt>
                <c:pt idx="23">
                  <c:v>522619</c:v>
                </c:pt>
                <c:pt idx="24">
                  <c:v>47518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1</c:v>
                </c:pt>
                <c:pt idx="1">
                  <c:v>2.32</c:v>
                </c:pt>
                <c:pt idx="2">
                  <c:v>2.37</c:v>
                </c:pt>
                <c:pt idx="3">
                  <c:v>2.46</c:v>
                </c:pt>
                <c:pt idx="4">
                  <c:v>2.42</c:v>
                </c:pt>
                <c:pt idx="5">
                  <c:v>2.26</c:v>
                </c:pt>
                <c:pt idx="6">
                  <c:v>2.44</c:v>
                </c:pt>
                <c:pt idx="7">
                  <c:v>2.51</c:v>
                </c:pt>
                <c:pt idx="8">
                  <c:v>2.52</c:v>
                </c:pt>
                <c:pt idx="9">
                  <c:v>2.57</c:v>
                </c:pt>
                <c:pt idx="10">
                  <c:v>2.53</c:v>
                </c:pt>
                <c:pt idx="11">
                  <c:v>2.6</c:v>
                </c:pt>
                <c:pt idx="12">
                  <c:v>2.56</c:v>
                </c:pt>
                <c:pt idx="13">
                  <c:v>2.57</c:v>
                </c:pt>
                <c:pt idx="14">
                  <c:v>2.42</c:v>
                </c:pt>
                <c:pt idx="15">
                  <c:v>2.29</c:v>
                </c:pt>
                <c:pt idx="16">
                  <c:v>2.11</c:v>
                </c:pt>
                <c:pt idx="17">
                  <c:v>2.44</c:v>
                </c:pt>
                <c:pt idx="18">
                  <c:v>2.62</c:v>
                </c:pt>
                <c:pt idx="19">
                  <c:v>2.64</c:v>
                </c:pt>
                <c:pt idx="20">
                  <c:v>2.56</c:v>
                </c:pt>
                <c:pt idx="21">
                  <c:v>2.58</c:v>
                </c:pt>
                <c:pt idx="22">
                  <c:v>2.49</c:v>
                </c:pt>
                <c:pt idx="23">
                  <c:v>2.53</c:v>
                </c:pt>
                <c:pt idx="24">
                  <c:v>2.5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20,3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61,8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90,3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20379</c:v>
                </c:pt>
                <c:pt idx="1">
                  <c:v>1562285</c:v>
                </c:pt>
                <c:pt idx="2">
                  <c:v>1553940</c:v>
                </c:pt>
                <c:pt idx="3">
                  <c:v>1448097</c:v>
                </c:pt>
                <c:pt idx="4">
                  <c:v>1803695</c:v>
                </c:pt>
                <c:pt idx="5">
                  <c:v>1331834</c:v>
                </c:pt>
                <c:pt idx="6">
                  <c:v>1235929</c:v>
                </c:pt>
                <c:pt idx="7">
                  <c:v>1429800</c:v>
                </c:pt>
                <c:pt idx="8">
                  <c:v>1461414</c:v>
                </c:pt>
                <c:pt idx="9">
                  <c:v>1628120</c:v>
                </c:pt>
                <c:pt idx="10">
                  <c:v>1761092</c:v>
                </c:pt>
                <c:pt idx="11">
                  <c:v>1922431</c:v>
                </c:pt>
                <c:pt idx="12">
                  <c:v>1799598</c:v>
                </c:pt>
                <c:pt idx="13">
                  <c:v>1461851</c:v>
                </c:pt>
                <c:pt idx="14">
                  <c:v>1464327</c:v>
                </c:pt>
                <c:pt idx="15">
                  <c:v>1340304</c:v>
                </c:pt>
                <c:pt idx="16">
                  <c:v>1767130</c:v>
                </c:pt>
                <c:pt idx="17">
                  <c:v>1250817</c:v>
                </c:pt>
                <c:pt idx="18">
                  <c:v>1305837</c:v>
                </c:pt>
                <c:pt idx="19">
                  <c:v>1498326</c:v>
                </c:pt>
                <c:pt idx="20">
                  <c:v>1425353</c:v>
                </c:pt>
                <c:pt idx="21">
                  <c:v>1583270</c:v>
                </c:pt>
                <c:pt idx="22">
                  <c:v>1849210</c:v>
                </c:pt>
                <c:pt idx="23">
                  <c:v>1854171</c:v>
                </c:pt>
                <c:pt idx="24">
                  <c:v>179036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7</c:v>
                </c:pt>
                <c:pt idx="1">
                  <c:v>3.21</c:v>
                </c:pt>
                <c:pt idx="2">
                  <c:v>2.92</c:v>
                </c:pt>
                <c:pt idx="3">
                  <c:v>2.86</c:v>
                </c:pt>
                <c:pt idx="4">
                  <c:v>2.71</c:v>
                </c:pt>
                <c:pt idx="5">
                  <c:v>3.02</c:v>
                </c:pt>
                <c:pt idx="6">
                  <c:v>3.12</c:v>
                </c:pt>
                <c:pt idx="7">
                  <c:v>3.13</c:v>
                </c:pt>
                <c:pt idx="8">
                  <c:v>3.17</c:v>
                </c:pt>
                <c:pt idx="9">
                  <c:v>3.17</c:v>
                </c:pt>
                <c:pt idx="10">
                  <c:v>3.12</c:v>
                </c:pt>
                <c:pt idx="11">
                  <c:v>3.16</c:v>
                </c:pt>
                <c:pt idx="12">
                  <c:v>3.15</c:v>
                </c:pt>
                <c:pt idx="13">
                  <c:v>3.12</c:v>
                </c:pt>
                <c:pt idx="14">
                  <c:v>2.94</c:v>
                </c:pt>
                <c:pt idx="15">
                  <c:v>2.85</c:v>
                </c:pt>
                <c:pt idx="16">
                  <c:v>2.7</c:v>
                </c:pt>
                <c:pt idx="17">
                  <c:v>2.99</c:v>
                </c:pt>
                <c:pt idx="18">
                  <c:v>3.14</c:v>
                </c:pt>
                <c:pt idx="19">
                  <c:v>3.13</c:v>
                </c:pt>
                <c:pt idx="20">
                  <c:v>3.06</c:v>
                </c:pt>
                <c:pt idx="21">
                  <c:v>3.07</c:v>
                </c:pt>
                <c:pt idx="22">
                  <c:v>3.1</c:v>
                </c:pt>
                <c:pt idx="23">
                  <c:v>3.19</c:v>
                </c:pt>
                <c:pt idx="24">
                  <c:v>3.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2"/>
              <c:tx>
                <c:rich>
                  <a:bodyPr/>
                  <a:lstStyle/>
                  <a:p>
                    <a:r>
                      <a:t>Value Sales </a:t>
                    </a:r>
                  </a:p>
                  <a:p>
                    <a:r>
                      <a:t> 4</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Jul-22</c:v>
                </c:pt>
                <c:pt idx="1">
                  <c:v>Feb-24</c:v>
                </c:pt>
                <c:pt idx="2">
                  <c:v>Mar-24</c:v>
                </c:pt>
              </c:strCache>
            </c:strRef>
          </c:cat>
          <c:val>
            <c:numRef>
              <c:f>Sheet1!$B$2:$B$4</c:f>
              <c:numCache>
                <c:formatCode>General</c:formatCode>
                <c:ptCount val="3"/>
                <c:pt idx="0">
                  <c:v>10</c:v>
                </c:pt>
                <c:pt idx="1">
                  <c:v>6</c:v>
                </c:pt>
                <c:pt idx="2">
                  <c:v>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2"/>
              <c:tx>
                <c:rich>
                  <a:bodyPr/>
                  <a:lstStyle/>
                  <a:p>
                    <a:r>
                      <a:t>Av Price/KG </a:t>
                    </a:r>
                  </a:p>
                  <a:p>
                    <a:r>
                      <a:t> $ 2.0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Jul-22</c:v>
                </c:pt>
                <c:pt idx="1">
                  <c:v>Feb-24</c:v>
                </c:pt>
                <c:pt idx="2">
                  <c:v>Mar-24</c:v>
                </c:pt>
              </c:strCache>
            </c:strRef>
          </c:cat>
          <c:val>
            <c:numRef>
              <c:f>Sheet1!$C$2:$C$4</c:f>
              <c:numCache>
                <c:formatCode>General</c:formatCode>
                <c:ptCount val="3"/>
                <c:pt idx="0">
                  <c:v>1.67</c:v>
                </c:pt>
                <c:pt idx="1">
                  <c:v>3.0</c:v>
                </c:pt>
                <c:pt idx="2">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2,4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7,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0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2423</c:v>
                </c:pt>
                <c:pt idx="1">
                  <c:v>88835</c:v>
                </c:pt>
                <c:pt idx="2">
                  <c:v>90431</c:v>
                </c:pt>
                <c:pt idx="3">
                  <c:v>87494</c:v>
                </c:pt>
                <c:pt idx="4">
                  <c:v>97151</c:v>
                </c:pt>
                <c:pt idx="5">
                  <c:v>99666</c:v>
                </c:pt>
                <c:pt idx="6">
                  <c:v>94479</c:v>
                </c:pt>
                <c:pt idx="7">
                  <c:v>113285</c:v>
                </c:pt>
                <c:pt idx="8">
                  <c:v>106434</c:v>
                </c:pt>
                <c:pt idx="9">
                  <c:v>107760</c:v>
                </c:pt>
                <c:pt idx="10">
                  <c:v>102820</c:v>
                </c:pt>
                <c:pt idx="11">
                  <c:v>109052</c:v>
                </c:pt>
                <c:pt idx="12">
                  <c:v>113510</c:v>
                </c:pt>
                <c:pt idx="13">
                  <c:v>107433</c:v>
                </c:pt>
                <c:pt idx="14">
                  <c:v>110893</c:v>
                </c:pt>
                <c:pt idx="15">
                  <c:v>103604</c:v>
                </c:pt>
                <c:pt idx="16">
                  <c:v>106751</c:v>
                </c:pt>
                <c:pt idx="17">
                  <c:v>109417</c:v>
                </c:pt>
                <c:pt idx="18">
                  <c:v>108437</c:v>
                </c:pt>
                <c:pt idx="19">
                  <c:v>122280</c:v>
                </c:pt>
                <c:pt idx="20">
                  <c:v>114972</c:v>
                </c:pt>
                <c:pt idx="21">
                  <c:v>117992</c:v>
                </c:pt>
                <c:pt idx="22">
                  <c:v>116259</c:v>
                </c:pt>
                <c:pt idx="23">
                  <c:v>115742</c:v>
                </c:pt>
                <c:pt idx="24">
                  <c:v>1090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8</c:v>
                </c:pt>
                <c:pt idx="1">
                  <c:v>1.4</c:v>
                </c:pt>
                <c:pt idx="2">
                  <c:v>1.39</c:v>
                </c:pt>
                <c:pt idx="3">
                  <c:v>1.39</c:v>
                </c:pt>
                <c:pt idx="4">
                  <c:v>1.38</c:v>
                </c:pt>
                <c:pt idx="5">
                  <c:v>1.39</c:v>
                </c:pt>
                <c:pt idx="6">
                  <c:v>1.4</c:v>
                </c:pt>
                <c:pt idx="7">
                  <c:v>1.46</c:v>
                </c:pt>
                <c:pt idx="8">
                  <c:v>1.45</c:v>
                </c:pt>
                <c:pt idx="9">
                  <c:v>1.42</c:v>
                </c:pt>
                <c:pt idx="10">
                  <c:v>1.43</c:v>
                </c:pt>
                <c:pt idx="11">
                  <c:v>1.44</c:v>
                </c:pt>
                <c:pt idx="12">
                  <c:v>1.44</c:v>
                </c:pt>
                <c:pt idx="13">
                  <c:v>1.45</c:v>
                </c:pt>
                <c:pt idx="14">
                  <c:v>1.45</c:v>
                </c:pt>
                <c:pt idx="15">
                  <c:v>1.45</c:v>
                </c:pt>
                <c:pt idx="16">
                  <c:v>1.45</c:v>
                </c:pt>
                <c:pt idx="17">
                  <c:v>1.47</c:v>
                </c:pt>
                <c:pt idx="18">
                  <c:v>1.47</c:v>
                </c:pt>
                <c:pt idx="19">
                  <c:v>1.48</c:v>
                </c:pt>
                <c:pt idx="20">
                  <c:v>1.49</c:v>
                </c:pt>
                <c:pt idx="21">
                  <c:v>1.5</c:v>
                </c:pt>
                <c:pt idx="22">
                  <c:v>1.49</c:v>
                </c:pt>
                <c:pt idx="23">
                  <c:v>1.42</c:v>
                </c:pt>
                <c:pt idx="24">
                  <c:v>1.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3,4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4,7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1,6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3416</c:v>
                </c:pt>
                <c:pt idx="1">
                  <c:v>140968</c:v>
                </c:pt>
                <c:pt idx="2">
                  <c:v>138900</c:v>
                </c:pt>
                <c:pt idx="3">
                  <c:v>129806</c:v>
                </c:pt>
                <c:pt idx="4">
                  <c:v>131098</c:v>
                </c:pt>
                <c:pt idx="5">
                  <c:v>144953</c:v>
                </c:pt>
                <c:pt idx="6">
                  <c:v>157006</c:v>
                </c:pt>
                <c:pt idx="7">
                  <c:v>180816</c:v>
                </c:pt>
                <c:pt idx="8">
                  <c:v>171279</c:v>
                </c:pt>
                <c:pt idx="9">
                  <c:v>181528</c:v>
                </c:pt>
                <c:pt idx="10">
                  <c:v>179657</c:v>
                </c:pt>
                <c:pt idx="11">
                  <c:v>190051</c:v>
                </c:pt>
                <c:pt idx="12">
                  <c:v>187318</c:v>
                </c:pt>
                <c:pt idx="13">
                  <c:v>174790</c:v>
                </c:pt>
                <c:pt idx="14">
                  <c:v>169650</c:v>
                </c:pt>
                <c:pt idx="15">
                  <c:v>157323</c:v>
                </c:pt>
                <c:pt idx="16">
                  <c:v>157850</c:v>
                </c:pt>
                <c:pt idx="17">
                  <c:v>169607</c:v>
                </c:pt>
                <c:pt idx="18">
                  <c:v>172242</c:v>
                </c:pt>
                <c:pt idx="19">
                  <c:v>192414</c:v>
                </c:pt>
                <c:pt idx="20">
                  <c:v>186772</c:v>
                </c:pt>
                <c:pt idx="21">
                  <c:v>196243</c:v>
                </c:pt>
                <c:pt idx="22">
                  <c:v>197772</c:v>
                </c:pt>
                <c:pt idx="23">
                  <c:v>200893</c:v>
                </c:pt>
                <c:pt idx="24">
                  <c:v>1916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32</c:v>
                </c:pt>
                <c:pt idx="1">
                  <c:v>0.32</c:v>
                </c:pt>
                <c:pt idx="2">
                  <c:v>0.32</c:v>
                </c:pt>
                <c:pt idx="3">
                  <c:v>0.32</c:v>
                </c:pt>
                <c:pt idx="4">
                  <c:v>0.32</c:v>
                </c:pt>
                <c:pt idx="5">
                  <c:v>0.34</c:v>
                </c:pt>
                <c:pt idx="6">
                  <c:v>0.38</c:v>
                </c:pt>
                <c:pt idx="7">
                  <c:v>0.39</c:v>
                </c:pt>
                <c:pt idx="8">
                  <c:v>0.38</c:v>
                </c:pt>
                <c:pt idx="9">
                  <c:v>0.38</c:v>
                </c:pt>
                <c:pt idx="10">
                  <c:v>0.39</c:v>
                </c:pt>
                <c:pt idx="11">
                  <c:v>0.39</c:v>
                </c:pt>
                <c:pt idx="12">
                  <c:v>0.4</c:v>
                </c:pt>
                <c:pt idx="13">
                  <c:v>0.4</c:v>
                </c:pt>
                <c:pt idx="14">
                  <c:v>0.39</c:v>
                </c:pt>
                <c:pt idx="15">
                  <c:v>0.4</c:v>
                </c:pt>
                <c:pt idx="16">
                  <c:v>0.4</c:v>
                </c:pt>
                <c:pt idx="17">
                  <c:v>0.4</c:v>
                </c:pt>
                <c:pt idx="18">
                  <c:v>0.4</c:v>
                </c:pt>
                <c:pt idx="19">
                  <c:v>0.41</c:v>
                </c:pt>
                <c:pt idx="20">
                  <c:v>0.4</c:v>
                </c:pt>
                <c:pt idx="21">
                  <c:v>0.41</c:v>
                </c:pt>
                <c:pt idx="22">
                  <c:v>0.4</c:v>
                </c:pt>
                <c:pt idx="23">
                  <c:v>0.4</c:v>
                </c:pt>
                <c:pt idx="24">
                  <c:v>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6,2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24,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57,3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6250</c:v>
                </c:pt>
                <c:pt idx="1">
                  <c:v>435424</c:v>
                </c:pt>
                <c:pt idx="2">
                  <c:v>422030</c:v>
                </c:pt>
                <c:pt idx="3">
                  <c:v>388574</c:v>
                </c:pt>
                <c:pt idx="4">
                  <c:v>411135</c:v>
                </c:pt>
                <c:pt idx="5">
                  <c:v>418191</c:v>
                </c:pt>
                <c:pt idx="6">
                  <c:v>384116</c:v>
                </c:pt>
                <c:pt idx="7">
                  <c:v>450933</c:v>
                </c:pt>
                <c:pt idx="8">
                  <c:v>454577</c:v>
                </c:pt>
                <c:pt idx="9">
                  <c:v>477858</c:v>
                </c:pt>
                <c:pt idx="10">
                  <c:v>489202</c:v>
                </c:pt>
                <c:pt idx="11">
                  <c:v>495539</c:v>
                </c:pt>
                <c:pt idx="12">
                  <c:v>468834</c:v>
                </c:pt>
                <c:pt idx="13">
                  <c:v>424143</c:v>
                </c:pt>
                <c:pt idx="14">
                  <c:v>407266</c:v>
                </c:pt>
                <c:pt idx="15">
                  <c:v>392443</c:v>
                </c:pt>
                <c:pt idx="16">
                  <c:v>479866</c:v>
                </c:pt>
                <c:pt idx="17">
                  <c:v>397059</c:v>
                </c:pt>
                <c:pt idx="18">
                  <c:v>389089</c:v>
                </c:pt>
                <c:pt idx="19">
                  <c:v>442218</c:v>
                </c:pt>
                <c:pt idx="20">
                  <c:v>438640</c:v>
                </c:pt>
                <c:pt idx="21">
                  <c:v>462701</c:v>
                </c:pt>
                <c:pt idx="22">
                  <c:v>485153</c:v>
                </c:pt>
                <c:pt idx="23">
                  <c:v>481851</c:v>
                </c:pt>
                <c:pt idx="24">
                  <c:v>4573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1</c:v>
                </c:pt>
                <c:pt idx="1">
                  <c:v>1.71</c:v>
                </c:pt>
                <c:pt idx="2">
                  <c:v>1.72</c:v>
                </c:pt>
                <c:pt idx="3">
                  <c:v>1.7</c:v>
                </c:pt>
                <c:pt idx="4">
                  <c:v>1.64</c:v>
                </c:pt>
                <c:pt idx="5">
                  <c:v>1.63</c:v>
                </c:pt>
                <c:pt idx="6">
                  <c:v>1.75</c:v>
                </c:pt>
                <c:pt idx="7">
                  <c:v>1.81</c:v>
                </c:pt>
                <c:pt idx="8">
                  <c:v>1.85</c:v>
                </c:pt>
                <c:pt idx="9">
                  <c:v>1.85</c:v>
                </c:pt>
                <c:pt idx="10">
                  <c:v>1.85</c:v>
                </c:pt>
                <c:pt idx="11">
                  <c:v>1.87</c:v>
                </c:pt>
                <c:pt idx="12">
                  <c:v>1.89</c:v>
                </c:pt>
                <c:pt idx="13">
                  <c:v>1.89</c:v>
                </c:pt>
                <c:pt idx="14">
                  <c:v>1.88</c:v>
                </c:pt>
                <c:pt idx="15">
                  <c:v>1.9</c:v>
                </c:pt>
                <c:pt idx="16">
                  <c:v>1.83</c:v>
                </c:pt>
                <c:pt idx="17">
                  <c:v>1.84</c:v>
                </c:pt>
                <c:pt idx="18">
                  <c:v>1.87</c:v>
                </c:pt>
                <c:pt idx="19">
                  <c:v>1.9</c:v>
                </c:pt>
                <c:pt idx="20">
                  <c:v>1.89</c:v>
                </c:pt>
                <c:pt idx="21">
                  <c:v>1.89</c:v>
                </c:pt>
                <c:pt idx="22">
                  <c:v>1.91</c:v>
                </c:pt>
                <c:pt idx="23">
                  <c:v>1.88</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85,1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9,0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2,7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85172</c:v>
                </c:pt>
                <c:pt idx="1">
                  <c:v>173786</c:v>
                </c:pt>
                <c:pt idx="2">
                  <c:v>179244</c:v>
                </c:pt>
                <c:pt idx="3">
                  <c:v>173994</c:v>
                </c:pt>
                <c:pt idx="4">
                  <c:v>187076</c:v>
                </c:pt>
                <c:pt idx="5">
                  <c:v>170166</c:v>
                </c:pt>
                <c:pt idx="6">
                  <c:v>152223</c:v>
                </c:pt>
                <c:pt idx="7">
                  <c:v>180645</c:v>
                </c:pt>
                <c:pt idx="8">
                  <c:v>193858</c:v>
                </c:pt>
                <c:pt idx="9">
                  <c:v>212801</c:v>
                </c:pt>
                <c:pt idx="10">
                  <c:v>205115</c:v>
                </c:pt>
                <c:pt idx="11">
                  <c:v>196814</c:v>
                </c:pt>
                <c:pt idx="12">
                  <c:v>188595</c:v>
                </c:pt>
                <c:pt idx="13">
                  <c:v>169056</c:v>
                </c:pt>
                <c:pt idx="14">
                  <c:v>165933</c:v>
                </c:pt>
                <c:pt idx="15">
                  <c:v>145377</c:v>
                </c:pt>
                <c:pt idx="16">
                  <c:v>174517</c:v>
                </c:pt>
                <c:pt idx="17">
                  <c:v>141638</c:v>
                </c:pt>
                <c:pt idx="18">
                  <c:v>144947</c:v>
                </c:pt>
                <c:pt idx="19">
                  <c:v>164702</c:v>
                </c:pt>
                <c:pt idx="20">
                  <c:v>168766</c:v>
                </c:pt>
                <c:pt idx="21">
                  <c:v>177732</c:v>
                </c:pt>
                <c:pt idx="22">
                  <c:v>182717</c:v>
                </c:pt>
                <c:pt idx="23">
                  <c:v>171346</c:v>
                </c:pt>
                <c:pt idx="24">
                  <c:v>1627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7</c:v>
                </c:pt>
                <c:pt idx="1">
                  <c:v>2.28</c:v>
                </c:pt>
                <c:pt idx="2">
                  <c:v>2.35</c:v>
                </c:pt>
                <c:pt idx="3">
                  <c:v>2.4</c:v>
                </c:pt>
                <c:pt idx="4">
                  <c:v>2.37</c:v>
                </c:pt>
                <c:pt idx="5">
                  <c:v>1.94</c:v>
                </c:pt>
                <c:pt idx="6">
                  <c:v>2.27</c:v>
                </c:pt>
                <c:pt idx="7">
                  <c:v>2.43</c:v>
                </c:pt>
                <c:pt idx="8">
                  <c:v>2.37</c:v>
                </c:pt>
                <c:pt idx="9">
                  <c:v>2.41</c:v>
                </c:pt>
                <c:pt idx="10">
                  <c:v>2.34</c:v>
                </c:pt>
                <c:pt idx="11">
                  <c:v>2.44</c:v>
                </c:pt>
                <c:pt idx="12">
                  <c:v>2.35</c:v>
                </c:pt>
                <c:pt idx="13">
                  <c:v>2.31</c:v>
                </c:pt>
                <c:pt idx="14">
                  <c:v>2.27</c:v>
                </c:pt>
                <c:pt idx="15">
                  <c:v>2.27</c:v>
                </c:pt>
                <c:pt idx="16">
                  <c:v>1.87</c:v>
                </c:pt>
                <c:pt idx="17">
                  <c:v>2.16</c:v>
                </c:pt>
                <c:pt idx="18">
                  <c:v>2.39</c:v>
                </c:pt>
                <c:pt idx="19">
                  <c:v>2.4</c:v>
                </c:pt>
                <c:pt idx="20">
                  <c:v>2.35</c:v>
                </c:pt>
                <c:pt idx="21">
                  <c:v>2.35</c:v>
                </c:pt>
                <c:pt idx="22">
                  <c:v>2.22</c:v>
                </c:pt>
                <c:pt idx="23">
                  <c:v>2.31</c:v>
                </c:pt>
                <c:pt idx="24">
                  <c:v>2.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3,789,1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5,604,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039,0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3789148</c:v>
                </c:pt>
                <c:pt idx="1">
                  <c:v>37094816</c:v>
                </c:pt>
                <c:pt idx="2">
                  <c:v>35947915</c:v>
                </c:pt>
                <c:pt idx="3">
                  <c:v>33522611</c:v>
                </c:pt>
                <c:pt idx="4">
                  <c:v>37624830</c:v>
                </c:pt>
                <c:pt idx="5">
                  <c:v>32952541</c:v>
                </c:pt>
                <c:pt idx="6">
                  <c:v>32389148</c:v>
                </c:pt>
                <c:pt idx="7">
                  <c:v>37795088</c:v>
                </c:pt>
                <c:pt idx="8">
                  <c:v>36461059</c:v>
                </c:pt>
                <c:pt idx="9">
                  <c:v>41109277</c:v>
                </c:pt>
                <c:pt idx="10">
                  <c:v>44699539</c:v>
                </c:pt>
                <c:pt idx="11">
                  <c:v>45713127</c:v>
                </c:pt>
                <c:pt idx="12">
                  <c:v>42083309</c:v>
                </c:pt>
                <c:pt idx="13">
                  <c:v>35604208</c:v>
                </c:pt>
                <c:pt idx="14">
                  <c:v>35059471</c:v>
                </c:pt>
                <c:pt idx="15">
                  <c:v>32274751</c:v>
                </c:pt>
                <c:pt idx="16">
                  <c:v>38180317</c:v>
                </c:pt>
                <c:pt idx="17">
                  <c:v>31684129</c:v>
                </c:pt>
                <c:pt idx="18">
                  <c:v>31841427</c:v>
                </c:pt>
                <c:pt idx="19">
                  <c:v>37262662</c:v>
                </c:pt>
                <c:pt idx="20">
                  <c:v>37215612</c:v>
                </c:pt>
                <c:pt idx="21">
                  <c:v>40540355</c:v>
                </c:pt>
                <c:pt idx="22">
                  <c:v>43292941</c:v>
                </c:pt>
                <c:pt idx="23">
                  <c:v>45495587</c:v>
                </c:pt>
                <c:pt idx="24">
                  <c:v>4303901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18</c:v>
                </c:pt>
                <c:pt idx="1">
                  <c:v>1.15</c:v>
                </c:pt>
                <c:pt idx="2">
                  <c:v>1.14</c:v>
                </c:pt>
                <c:pt idx="3">
                  <c:v>1.11</c:v>
                </c:pt>
                <c:pt idx="4">
                  <c:v>1.14</c:v>
                </c:pt>
                <c:pt idx="5">
                  <c:v>1.14</c:v>
                </c:pt>
                <c:pt idx="6">
                  <c:v>1.15</c:v>
                </c:pt>
                <c:pt idx="7">
                  <c:v>1.2</c:v>
                </c:pt>
                <c:pt idx="8">
                  <c:v>1.22</c:v>
                </c:pt>
                <c:pt idx="9">
                  <c:v>1.22</c:v>
                </c:pt>
                <c:pt idx="10">
                  <c:v>1.26</c:v>
                </c:pt>
                <c:pt idx="11">
                  <c:v>1.24</c:v>
                </c:pt>
                <c:pt idx="12">
                  <c:v>1.24</c:v>
                </c:pt>
                <c:pt idx="13">
                  <c:v>1.21</c:v>
                </c:pt>
                <c:pt idx="14">
                  <c:v>1.19</c:v>
                </c:pt>
                <c:pt idx="15">
                  <c:v>1.17</c:v>
                </c:pt>
                <c:pt idx="16">
                  <c:v>1.21</c:v>
                </c:pt>
                <c:pt idx="17">
                  <c:v>1.15</c:v>
                </c:pt>
                <c:pt idx="18">
                  <c:v>1.17</c:v>
                </c:pt>
                <c:pt idx="19">
                  <c:v>1.18</c:v>
                </c:pt>
                <c:pt idx="20">
                  <c:v>1.21</c:v>
                </c:pt>
                <c:pt idx="21">
                  <c:v>1.21</c:v>
                </c:pt>
                <c:pt idx="22">
                  <c:v>1.23</c:v>
                </c:pt>
                <c:pt idx="23">
                  <c:v>1.22</c:v>
                </c:pt>
                <c:pt idx="24">
                  <c:v>1.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2,4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11,3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89,0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12416</c:v>
                </c:pt>
                <c:pt idx="1">
                  <c:v>556346</c:v>
                </c:pt>
                <c:pt idx="2">
                  <c:v>536777</c:v>
                </c:pt>
                <c:pt idx="3">
                  <c:v>496357</c:v>
                </c:pt>
                <c:pt idx="4">
                  <c:v>539406</c:v>
                </c:pt>
                <c:pt idx="5">
                  <c:v>532153</c:v>
                </c:pt>
                <c:pt idx="6">
                  <c:v>473494</c:v>
                </c:pt>
                <c:pt idx="7">
                  <c:v>554327</c:v>
                </c:pt>
                <c:pt idx="8">
                  <c:v>538476</c:v>
                </c:pt>
                <c:pt idx="9">
                  <c:v>569608</c:v>
                </c:pt>
                <c:pt idx="10">
                  <c:v>580918</c:v>
                </c:pt>
                <c:pt idx="11">
                  <c:v>604700</c:v>
                </c:pt>
                <c:pt idx="12">
                  <c:v>565953</c:v>
                </c:pt>
                <c:pt idx="13">
                  <c:v>511336</c:v>
                </c:pt>
                <c:pt idx="14">
                  <c:v>491398</c:v>
                </c:pt>
                <c:pt idx="15">
                  <c:v>458067</c:v>
                </c:pt>
                <c:pt idx="16">
                  <c:v>505496</c:v>
                </c:pt>
                <c:pt idx="17">
                  <c:v>480196</c:v>
                </c:pt>
                <c:pt idx="18">
                  <c:v>478831</c:v>
                </c:pt>
                <c:pt idx="19">
                  <c:v>552818</c:v>
                </c:pt>
                <c:pt idx="20">
                  <c:v>540503</c:v>
                </c:pt>
                <c:pt idx="21">
                  <c:v>585612</c:v>
                </c:pt>
                <c:pt idx="22">
                  <c:v>617846</c:v>
                </c:pt>
                <c:pt idx="23">
                  <c:v>628818</c:v>
                </c:pt>
                <c:pt idx="24">
                  <c:v>5890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9</c:v>
                </c:pt>
                <c:pt idx="1">
                  <c:v>3.28</c:v>
                </c:pt>
                <c:pt idx="2">
                  <c:v>3.27</c:v>
                </c:pt>
                <c:pt idx="3">
                  <c:v>3.2</c:v>
                </c:pt>
                <c:pt idx="4">
                  <c:v>2.85</c:v>
                </c:pt>
                <c:pt idx="5">
                  <c:v>3.03</c:v>
                </c:pt>
                <c:pt idx="6">
                  <c:v>3.05</c:v>
                </c:pt>
                <c:pt idx="7">
                  <c:v>3.11</c:v>
                </c:pt>
                <c:pt idx="8">
                  <c:v>3.13</c:v>
                </c:pt>
                <c:pt idx="9">
                  <c:v>3.14</c:v>
                </c:pt>
                <c:pt idx="10">
                  <c:v>3.16</c:v>
                </c:pt>
                <c:pt idx="11">
                  <c:v>3.11</c:v>
                </c:pt>
                <c:pt idx="12">
                  <c:v>3.07</c:v>
                </c:pt>
                <c:pt idx="13">
                  <c:v>3.05</c:v>
                </c:pt>
                <c:pt idx="14">
                  <c:v>3.03</c:v>
                </c:pt>
                <c:pt idx="15">
                  <c:v>3.01</c:v>
                </c:pt>
                <c:pt idx="16">
                  <c:v>2.84</c:v>
                </c:pt>
                <c:pt idx="17">
                  <c:v>3.02</c:v>
                </c:pt>
                <c:pt idx="18">
                  <c:v>3.08</c:v>
                </c:pt>
                <c:pt idx="19">
                  <c:v>3.1</c:v>
                </c:pt>
                <c:pt idx="20">
                  <c:v>3.08</c:v>
                </c:pt>
                <c:pt idx="21">
                  <c:v>3.08</c:v>
                </c:pt>
                <c:pt idx="22">
                  <c:v>3.16</c:v>
                </c:pt>
                <c:pt idx="23">
                  <c:v>3.12</c:v>
                </c:pt>
                <c:pt idx="24">
                  <c:v>3.0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Value Sales </a:t>
                    </a:r>
                  </a:p>
                  <a:p>
                    <a:r>
                      <a:t> 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5</c:f>
              <c:strCache>
                <c:ptCount val="14"/>
                <c:pt idx="0">
                  <c:v>Mar-22</c:v>
                </c:pt>
                <c:pt idx="1">
                  <c:v>Oct-22</c:v>
                </c:pt>
                <c:pt idx="2">
                  <c:v>Nov-22</c:v>
                </c:pt>
                <c:pt idx="3">
                  <c:v>Dec-22</c:v>
                </c:pt>
                <c:pt idx="4">
                  <c:v>Jan-23</c:v>
                </c:pt>
                <c:pt idx="5">
                  <c:v>Feb-23</c:v>
                </c:pt>
                <c:pt idx="6">
                  <c:v>Mar-23</c:v>
                </c:pt>
                <c:pt idx="7">
                  <c:v>Oct-23</c:v>
                </c:pt>
                <c:pt idx="8">
                  <c:v>Nov-23</c:v>
                </c:pt>
                <c:pt idx="9">
                  <c:v>Dec-23</c:v>
                </c:pt>
                <c:pt idx="10">
                  <c:v>Jan-24</c:v>
                </c:pt>
                <c:pt idx="11">
                  <c:v>Feb-24</c:v>
                </c:pt>
                <c:pt idx="12">
                  <c:v>Mar-24</c:v>
                </c:pt>
                <c:pt idx="13">
                  <c:v>Apr-24</c:v>
                </c:pt>
              </c:strCache>
            </c:strRef>
          </c:cat>
          <c:val>
            <c:numRef>
              <c:f>Sheet1!$B$2:$B$15</c:f>
              <c:numCache>
                <c:formatCode>General</c:formatCode>
                <c:ptCount val="14"/>
                <c:pt idx="0">
                  <c:v>3</c:v>
                </c:pt>
                <c:pt idx="1">
                  <c:v>6953</c:v>
                </c:pt>
                <c:pt idx="2">
                  <c:v>16944</c:v>
                </c:pt>
                <c:pt idx="3">
                  <c:v>15877</c:v>
                </c:pt>
                <c:pt idx="4">
                  <c:v>365</c:v>
                </c:pt>
                <c:pt idx="5">
                  <c:v>2</c:v>
                </c:pt>
                <c:pt idx="6">
                  <c:v>50</c:v>
                </c:pt>
                <c:pt idx="7">
                  <c:v>2727</c:v>
                </c:pt>
                <c:pt idx="8">
                  <c:v>10037</c:v>
                </c:pt>
                <c:pt idx="9">
                  <c:v>36651</c:v>
                </c:pt>
                <c:pt idx="10">
                  <c:v>354</c:v>
                </c:pt>
                <c:pt idx="11">
                  <c:v>19</c:v>
                </c:pt>
                <c:pt idx="12">
                  <c:v>16</c:v>
                </c:pt>
                <c:pt idx="13">
                  <c:v>1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Av Price/KG </a:t>
                    </a:r>
                  </a:p>
                  <a:p>
                    <a:r>
                      <a:t> $ 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5</c:f>
              <c:strCache>
                <c:ptCount val="14"/>
                <c:pt idx="0">
                  <c:v>Mar-22</c:v>
                </c:pt>
                <c:pt idx="1">
                  <c:v>Oct-22</c:v>
                </c:pt>
                <c:pt idx="2">
                  <c:v>Nov-22</c:v>
                </c:pt>
                <c:pt idx="3">
                  <c:v>Dec-22</c:v>
                </c:pt>
                <c:pt idx="4">
                  <c:v>Jan-23</c:v>
                </c:pt>
                <c:pt idx="5">
                  <c:v>Feb-23</c:v>
                </c:pt>
                <c:pt idx="6">
                  <c:v>Mar-23</c:v>
                </c:pt>
                <c:pt idx="7">
                  <c:v>Oct-23</c:v>
                </c:pt>
                <c:pt idx="8">
                  <c:v>Nov-23</c:v>
                </c:pt>
                <c:pt idx="9">
                  <c:v>Dec-23</c:v>
                </c:pt>
                <c:pt idx="10">
                  <c:v>Jan-24</c:v>
                </c:pt>
                <c:pt idx="11">
                  <c:v>Feb-24</c:v>
                </c:pt>
                <c:pt idx="12">
                  <c:v>Mar-24</c:v>
                </c:pt>
                <c:pt idx="13">
                  <c:v>Apr-24</c:v>
                </c:pt>
              </c:strCache>
            </c:strRef>
          </c:cat>
          <c:val>
            <c:numRef>
              <c:f>Sheet1!$C$2:$C$15</c:f>
              <c:numCache>
                <c:formatCode>General</c:formatCode>
                <c:ptCount val="14"/>
                <c:pt idx="0">
                  <c:v>3.0</c:v>
                </c:pt>
                <c:pt idx="1">
                  <c:v>1.0</c:v>
                </c:pt>
                <c:pt idx="2">
                  <c:v>1.0</c:v>
                </c:pt>
                <c:pt idx="3">
                  <c:v>0.92</c:v>
                </c:pt>
                <c:pt idx="4">
                  <c:v>0.51</c:v>
                </c:pt>
                <c:pt idx="5">
                  <c:v>0.2</c:v>
                </c:pt>
                <c:pt idx="6">
                  <c:v>1.67</c:v>
                </c:pt>
                <c:pt idx="7">
                  <c:v>3.3</c:v>
                </c:pt>
                <c:pt idx="8">
                  <c:v>3.37</c:v>
                </c:pt>
                <c:pt idx="9">
                  <c:v>2.48</c:v>
                </c:pt>
                <c:pt idx="10">
                  <c:v>1.13</c:v>
                </c:pt>
                <c:pt idx="11">
                  <c:v>1.19</c:v>
                </c:pt>
                <c:pt idx="12">
                  <c:v>1.33</c:v>
                </c:pt>
                <c:pt idx="13">
                  <c:v>4.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19,0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39,1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08,3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19031</c:v>
                </c:pt>
                <c:pt idx="1">
                  <c:v>2312988</c:v>
                </c:pt>
                <c:pt idx="2">
                  <c:v>2169326</c:v>
                </c:pt>
                <c:pt idx="3">
                  <c:v>2004604</c:v>
                </c:pt>
                <c:pt idx="4">
                  <c:v>2193376</c:v>
                </c:pt>
                <c:pt idx="5">
                  <c:v>2053438</c:v>
                </c:pt>
                <c:pt idx="6">
                  <c:v>2024296</c:v>
                </c:pt>
                <c:pt idx="7">
                  <c:v>2320715</c:v>
                </c:pt>
                <c:pt idx="8">
                  <c:v>2205483</c:v>
                </c:pt>
                <c:pt idx="9">
                  <c:v>2410852</c:v>
                </c:pt>
                <c:pt idx="10">
                  <c:v>2505632</c:v>
                </c:pt>
                <c:pt idx="11">
                  <c:v>2648915</c:v>
                </c:pt>
                <c:pt idx="12">
                  <c:v>2669282</c:v>
                </c:pt>
                <c:pt idx="13">
                  <c:v>2239141</c:v>
                </c:pt>
                <c:pt idx="14">
                  <c:v>2170159</c:v>
                </c:pt>
                <c:pt idx="15">
                  <c:v>2043230</c:v>
                </c:pt>
                <c:pt idx="16">
                  <c:v>2242242</c:v>
                </c:pt>
                <c:pt idx="17">
                  <c:v>2125803</c:v>
                </c:pt>
                <c:pt idx="18">
                  <c:v>2322504</c:v>
                </c:pt>
                <c:pt idx="19">
                  <c:v>2630497</c:v>
                </c:pt>
                <c:pt idx="20">
                  <c:v>2499496</c:v>
                </c:pt>
                <c:pt idx="21">
                  <c:v>2731284</c:v>
                </c:pt>
                <c:pt idx="22">
                  <c:v>2838663</c:v>
                </c:pt>
                <c:pt idx="23">
                  <c:v>3049834</c:v>
                </c:pt>
                <c:pt idx="24">
                  <c:v>28083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42</c:v>
                </c:pt>
                <c:pt idx="1">
                  <c:v>0.43</c:v>
                </c:pt>
                <c:pt idx="2">
                  <c:v>0.42</c:v>
                </c:pt>
                <c:pt idx="3">
                  <c:v>0.41</c:v>
                </c:pt>
                <c:pt idx="4">
                  <c:v>0.41</c:v>
                </c:pt>
                <c:pt idx="5">
                  <c:v>0.41</c:v>
                </c:pt>
                <c:pt idx="6">
                  <c:v>0.43</c:v>
                </c:pt>
                <c:pt idx="7">
                  <c:v>0.43</c:v>
                </c:pt>
                <c:pt idx="8">
                  <c:v>0.43</c:v>
                </c:pt>
                <c:pt idx="9">
                  <c:v>0.43</c:v>
                </c:pt>
                <c:pt idx="10">
                  <c:v>0.43</c:v>
                </c:pt>
                <c:pt idx="11">
                  <c:v>0.43</c:v>
                </c:pt>
                <c:pt idx="12">
                  <c:v>0.45</c:v>
                </c:pt>
                <c:pt idx="13">
                  <c:v>0.44</c:v>
                </c:pt>
                <c:pt idx="14">
                  <c:v>0.42</c:v>
                </c:pt>
                <c:pt idx="15">
                  <c:v>0.42</c:v>
                </c:pt>
                <c:pt idx="16">
                  <c:v>0.43</c:v>
                </c:pt>
                <c:pt idx="17">
                  <c:v>0.43</c:v>
                </c:pt>
                <c:pt idx="18">
                  <c:v>0.44</c:v>
                </c:pt>
                <c:pt idx="19">
                  <c:v>0.45</c:v>
                </c:pt>
                <c:pt idx="20">
                  <c:v>0.45</c:v>
                </c:pt>
                <c:pt idx="21">
                  <c:v>0.45</c:v>
                </c:pt>
                <c:pt idx="22">
                  <c:v>0.45</c:v>
                </c:pt>
                <c:pt idx="23">
                  <c:v>0.46</c:v>
                </c:pt>
                <c:pt idx="24">
                  <c:v>0.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834,9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39,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356,9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834966</c:v>
                </c:pt>
                <c:pt idx="1">
                  <c:v>6660536</c:v>
                </c:pt>
                <c:pt idx="2">
                  <c:v>6598860</c:v>
                </c:pt>
                <c:pt idx="3">
                  <c:v>6224632</c:v>
                </c:pt>
                <c:pt idx="4">
                  <c:v>7416629</c:v>
                </c:pt>
                <c:pt idx="5">
                  <c:v>5857030</c:v>
                </c:pt>
                <c:pt idx="6">
                  <c:v>5690061</c:v>
                </c:pt>
                <c:pt idx="7">
                  <c:v>6564743</c:v>
                </c:pt>
                <c:pt idx="8">
                  <c:v>6620995</c:v>
                </c:pt>
                <c:pt idx="9">
                  <c:v>7362397</c:v>
                </c:pt>
                <c:pt idx="10">
                  <c:v>7835160</c:v>
                </c:pt>
                <c:pt idx="11">
                  <c:v>8103884</c:v>
                </c:pt>
                <c:pt idx="12">
                  <c:v>7744953</c:v>
                </c:pt>
                <c:pt idx="13">
                  <c:v>6339604</c:v>
                </c:pt>
                <c:pt idx="14">
                  <c:v>6057962</c:v>
                </c:pt>
                <c:pt idx="15">
                  <c:v>6019438</c:v>
                </c:pt>
                <c:pt idx="16">
                  <c:v>7546082</c:v>
                </c:pt>
                <c:pt idx="17">
                  <c:v>5725626</c:v>
                </c:pt>
                <c:pt idx="18">
                  <c:v>5674604</c:v>
                </c:pt>
                <c:pt idx="19">
                  <c:v>6478275</c:v>
                </c:pt>
                <c:pt idx="20">
                  <c:v>6278980</c:v>
                </c:pt>
                <c:pt idx="21">
                  <c:v>6965095</c:v>
                </c:pt>
                <c:pt idx="22">
                  <c:v>7499249</c:v>
                </c:pt>
                <c:pt idx="23">
                  <c:v>7674469</c:v>
                </c:pt>
                <c:pt idx="24">
                  <c:v>73569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c:v>
                </c:pt>
                <c:pt idx="1">
                  <c:v>1.69</c:v>
                </c:pt>
                <c:pt idx="2">
                  <c:v>1.67</c:v>
                </c:pt>
                <c:pt idx="3">
                  <c:v>1.63</c:v>
                </c:pt>
                <c:pt idx="4">
                  <c:v>1.57</c:v>
                </c:pt>
                <c:pt idx="5">
                  <c:v>1.71</c:v>
                </c:pt>
                <c:pt idx="6">
                  <c:v>1.78</c:v>
                </c:pt>
                <c:pt idx="7">
                  <c:v>1.82</c:v>
                </c:pt>
                <c:pt idx="8">
                  <c:v>1.85</c:v>
                </c:pt>
                <c:pt idx="9">
                  <c:v>1.85</c:v>
                </c:pt>
                <c:pt idx="10">
                  <c:v>1.85</c:v>
                </c:pt>
                <c:pt idx="11">
                  <c:v>1.87</c:v>
                </c:pt>
                <c:pt idx="12">
                  <c:v>1.88</c:v>
                </c:pt>
                <c:pt idx="13">
                  <c:v>1.88</c:v>
                </c:pt>
                <c:pt idx="14">
                  <c:v>1.86</c:v>
                </c:pt>
                <c:pt idx="15">
                  <c:v>1.9</c:v>
                </c:pt>
                <c:pt idx="16">
                  <c:v>1.88</c:v>
                </c:pt>
                <c:pt idx="17">
                  <c:v>1.81</c:v>
                </c:pt>
                <c:pt idx="18">
                  <c:v>1.84</c:v>
                </c:pt>
                <c:pt idx="19">
                  <c:v>1.87</c:v>
                </c:pt>
                <c:pt idx="20">
                  <c:v>1.87</c:v>
                </c:pt>
                <c:pt idx="21">
                  <c:v>1.86</c:v>
                </c:pt>
                <c:pt idx="22">
                  <c:v>1.88</c:v>
                </c:pt>
                <c:pt idx="23">
                  <c:v>1.88</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605,9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21,6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42,5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605960</c:v>
                </c:pt>
                <c:pt idx="1">
                  <c:v>3102739</c:v>
                </c:pt>
                <c:pt idx="2">
                  <c:v>3163047</c:v>
                </c:pt>
                <c:pt idx="3">
                  <c:v>3097982</c:v>
                </c:pt>
                <c:pt idx="4">
                  <c:v>3554169</c:v>
                </c:pt>
                <c:pt idx="5">
                  <c:v>2638294</c:v>
                </c:pt>
                <c:pt idx="6">
                  <c:v>2883955</c:v>
                </c:pt>
                <c:pt idx="7">
                  <c:v>3511075</c:v>
                </c:pt>
                <c:pt idx="8">
                  <c:v>3546448</c:v>
                </c:pt>
                <c:pt idx="9">
                  <c:v>3913545</c:v>
                </c:pt>
                <c:pt idx="10">
                  <c:v>3987618</c:v>
                </c:pt>
                <c:pt idx="11">
                  <c:v>3935639</c:v>
                </c:pt>
                <c:pt idx="12">
                  <c:v>3851662</c:v>
                </c:pt>
                <c:pt idx="13">
                  <c:v>3121676</c:v>
                </c:pt>
                <c:pt idx="14">
                  <c:v>3107054</c:v>
                </c:pt>
                <c:pt idx="15">
                  <c:v>2964230</c:v>
                </c:pt>
                <c:pt idx="16">
                  <c:v>3847523</c:v>
                </c:pt>
                <c:pt idx="17">
                  <c:v>2567212</c:v>
                </c:pt>
                <c:pt idx="18">
                  <c:v>2700827</c:v>
                </c:pt>
                <c:pt idx="19">
                  <c:v>3031538</c:v>
                </c:pt>
                <c:pt idx="20">
                  <c:v>3125223</c:v>
                </c:pt>
                <c:pt idx="21">
                  <c:v>3384497</c:v>
                </c:pt>
                <c:pt idx="22">
                  <c:v>3518303</c:v>
                </c:pt>
                <c:pt idx="23">
                  <c:v>3510870</c:v>
                </c:pt>
                <c:pt idx="24">
                  <c:v>32425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8</c:v>
                </c:pt>
                <c:pt idx="1">
                  <c:v>2.39</c:v>
                </c:pt>
                <c:pt idx="2">
                  <c:v>2.46</c:v>
                </c:pt>
                <c:pt idx="3">
                  <c:v>2.52</c:v>
                </c:pt>
                <c:pt idx="4">
                  <c:v>2.49</c:v>
                </c:pt>
                <c:pt idx="5">
                  <c:v>2.35</c:v>
                </c:pt>
                <c:pt idx="6">
                  <c:v>2.54</c:v>
                </c:pt>
                <c:pt idx="7">
                  <c:v>2.62</c:v>
                </c:pt>
                <c:pt idx="8">
                  <c:v>2.61</c:v>
                </c:pt>
                <c:pt idx="9">
                  <c:v>2.65</c:v>
                </c:pt>
                <c:pt idx="10">
                  <c:v>2.62</c:v>
                </c:pt>
                <c:pt idx="11">
                  <c:v>2.68</c:v>
                </c:pt>
                <c:pt idx="12">
                  <c:v>2.62</c:v>
                </c:pt>
                <c:pt idx="13">
                  <c:v>2.62</c:v>
                </c:pt>
                <c:pt idx="14">
                  <c:v>2.5</c:v>
                </c:pt>
                <c:pt idx="15">
                  <c:v>2.35</c:v>
                </c:pt>
                <c:pt idx="16">
                  <c:v>2.14</c:v>
                </c:pt>
                <c:pt idx="17">
                  <c:v>2.47</c:v>
                </c:pt>
                <c:pt idx="18">
                  <c:v>2.69</c:v>
                </c:pt>
                <c:pt idx="19">
                  <c:v>2.72</c:v>
                </c:pt>
                <c:pt idx="20">
                  <c:v>2.64</c:v>
                </c:pt>
                <c:pt idx="21">
                  <c:v>2.63</c:v>
                </c:pt>
                <c:pt idx="22">
                  <c:v>2.57</c:v>
                </c:pt>
                <c:pt idx="23">
                  <c:v>2.59</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349,3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604,0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377,8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349358</c:v>
                </c:pt>
                <c:pt idx="1">
                  <c:v>10917936</c:v>
                </c:pt>
                <c:pt idx="2">
                  <c:v>10864821</c:v>
                </c:pt>
                <c:pt idx="3">
                  <c:v>10080431</c:v>
                </c:pt>
                <c:pt idx="4">
                  <c:v>12331978</c:v>
                </c:pt>
                <c:pt idx="5">
                  <c:v>9540495</c:v>
                </c:pt>
                <c:pt idx="6">
                  <c:v>9307531</c:v>
                </c:pt>
                <c:pt idx="7">
                  <c:v>10848857</c:v>
                </c:pt>
                <c:pt idx="8">
                  <c:v>10563713</c:v>
                </c:pt>
                <c:pt idx="9">
                  <c:v>12101358</c:v>
                </c:pt>
                <c:pt idx="10">
                  <c:v>12868614</c:v>
                </c:pt>
                <c:pt idx="11">
                  <c:v>13436466</c:v>
                </c:pt>
                <c:pt idx="12">
                  <c:v>12680328</c:v>
                </c:pt>
                <c:pt idx="13">
                  <c:v>10604043</c:v>
                </c:pt>
                <c:pt idx="14">
                  <c:v>10738739</c:v>
                </c:pt>
                <c:pt idx="15">
                  <c:v>10128864</c:v>
                </c:pt>
                <c:pt idx="16">
                  <c:v>12838795</c:v>
                </c:pt>
                <c:pt idx="17">
                  <c:v>9421401</c:v>
                </c:pt>
                <c:pt idx="18">
                  <c:v>10212442</c:v>
                </c:pt>
                <c:pt idx="19">
                  <c:v>11734328</c:v>
                </c:pt>
                <c:pt idx="20">
                  <c:v>10969346</c:v>
                </c:pt>
                <c:pt idx="21">
                  <c:v>12303026</c:v>
                </c:pt>
                <c:pt idx="22">
                  <c:v>13619326</c:v>
                </c:pt>
                <c:pt idx="23">
                  <c:v>13579235</c:v>
                </c:pt>
                <c:pt idx="24">
                  <c:v>1337782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3</c:v>
                </c:pt>
                <c:pt idx="1">
                  <c:v>3.15</c:v>
                </c:pt>
                <c:pt idx="2">
                  <c:v>2.9</c:v>
                </c:pt>
                <c:pt idx="3">
                  <c:v>2.83</c:v>
                </c:pt>
                <c:pt idx="4">
                  <c:v>2.75</c:v>
                </c:pt>
                <c:pt idx="5">
                  <c:v>3.01</c:v>
                </c:pt>
                <c:pt idx="6">
                  <c:v>3.09</c:v>
                </c:pt>
                <c:pt idx="7">
                  <c:v>3.11</c:v>
                </c:pt>
                <c:pt idx="8">
                  <c:v>3.12</c:v>
                </c:pt>
                <c:pt idx="9">
                  <c:v>3.15</c:v>
                </c:pt>
                <c:pt idx="10">
                  <c:v>3.1</c:v>
                </c:pt>
                <c:pt idx="11">
                  <c:v>3.12</c:v>
                </c:pt>
                <c:pt idx="12">
                  <c:v>3.11</c:v>
                </c:pt>
                <c:pt idx="13">
                  <c:v>3.07</c:v>
                </c:pt>
                <c:pt idx="14">
                  <c:v>2.86</c:v>
                </c:pt>
                <c:pt idx="15">
                  <c:v>2.79</c:v>
                </c:pt>
                <c:pt idx="16">
                  <c:v>2.73</c:v>
                </c:pt>
                <c:pt idx="17">
                  <c:v>2.98</c:v>
                </c:pt>
                <c:pt idx="18">
                  <c:v>3.12</c:v>
                </c:pt>
                <c:pt idx="19">
                  <c:v>3.1</c:v>
                </c:pt>
                <c:pt idx="20">
                  <c:v>3.04</c:v>
                </c:pt>
                <c:pt idx="21">
                  <c:v>3.07</c:v>
                </c:pt>
                <c:pt idx="22">
                  <c:v>3.09</c:v>
                </c:pt>
                <c:pt idx="23">
                  <c:v>3.15</c:v>
                </c:pt>
                <c:pt idx="24">
                  <c:v>3.0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2"/>
              <c:tx>
                <c:rich>
                  <a:bodyPr/>
                  <a:lstStyle/>
                  <a:p>
                    <a:r>
                      <a:t>Value Sales </a:t>
                    </a:r>
                  </a:p>
                  <a:p>
                    <a:r>
                      <a:t> 6</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4</c:f>
              <c:strCache>
                <c:ptCount val="13"/>
                <c:pt idx="0">
                  <c:v>Oct-21</c:v>
                </c:pt>
                <c:pt idx="1">
                  <c:v>Nov-21</c:v>
                </c:pt>
                <c:pt idx="2">
                  <c:v>Dec-21</c:v>
                </c:pt>
                <c:pt idx="3">
                  <c:v>Apr-22</c:v>
                </c:pt>
                <c:pt idx="4">
                  <c:v>May-22</c:v>
                </c:pt>
                <c:pt idx="5">
                  <c:v>Jun-22</c:v>
                </c:pt>
                <c:pt idx="6">
                  <c:v>Jan-23</c:v>
                </c:pt>
                <c:pt idx="7">
                  <c:v>May-23</c:v>
                </c:pt>
                <c:pt idx="8">
                  <c:v>Sep-23</c:v>
                </c:pt>
                <c:pt idx="9">
                  <c:v>Nov-23</c:v>
                </c:pt>
                <c:pt idx="10">
                  <c:v>Dec-23</c:v>
                </c:pt>
                <c:pt idx="11">
                  <c:v>Mar-24</c:v>
                </c:pt>
                <c:pt idx="12">
                  <c:v>Aug-24</c:v>
                </c:pt>
              </c:strCache>
            </c:strRef>
          </c:cat>
          <c:val>
            <c:numRef>
              <c:f>Sheet1!$B$2:$B$14</c:f>
              <c:numCache>
                <c:formatCode>General</c:formatCode>
                <c:ptCount val="13"/>
                <c:pt idx="0">
                  <c:v>146</c:v>
                </c:pt>
                <c:pt idx="1">
                  <c:v>2</c:v>
                </c:pt>
                <c:pt idx="2">
                  <c:v>6</c:v>
                </c:pt>
                <c:pt idx="3">
                  <c:v>12</c:v>
                </c:pt>
                <c:pt idx="4">
                  <c:v>1</c:v>
                </c:pt>
                <c:pt idx="5">
                  <c:v>3</c:v>
                </c:pt>
                <c:pt idx="6">
                  <c:v>10</c:v>
                </c:pt>
                <c:pt idx="7">
                  <c:v>2</c:v>
                </c:pt>
                <c:pt idx="8">
                  <c:v>6</c:v>
                </c:pt>
                <c:pt idx="9">
                  <c:v>2</c:v>
                </c:pt>
                <c:pt idx="10">
                  <c:v>2</c:v>
                </c:pt>
                <c:pt idx="11">
                  <c:v>4</c:v>
                </c:pt>
                <c:pt idx="12">
                  <c:v>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2"/>
              <c:tx>
                <c:rich>
                  <a:bodyPr/>
                  <a:lstStyle/>
                  <a:p>
                    <a:r>
                      <a:t>Av Price/KG </a:t>
                    </a:r>
                  </a:p>
                  <a:p>
                    <a:r>
                      <a:t> $ 2.0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4</c:f>
              <c:strCache>
                <c:ptCount val="13"/>
                <c:pt idx="0">
                  <c:v>Oct-21</c:v>
                </c:pt>
                <c:pt idx="1">
                  <c:v>Nov-21</c:v>
                </c:pt>
                <c:pt idx="2">
                  <c:v>Dec-21</c:v>
                </c:pt>
                <c:pt idx="3">
                  <c:v>Apr-22</c:v>
                </c:pt>
                <c:pt idx="4">
                  <c:v>May-22</c:v>
                </c:pt>
                <c:pt idx="5">
                  <c:v>Jun-22</c:v>
                </c:pt>
                <c:pt idx="6">
                  <c:v>Jan-23</c:v>
                </c:pt>
                <c:pt idx="7">
                  <c:v>May-23</c:v>
                </c:pt>
                <c:pt idx="8">
                  <c:v>Sep-23</c:v>
                </c:pt>
                <c:pt idx="9">
                  <c:v>Nov-23</c:v>
                </c:pt>
                <c:pt idx="10">
                  <c:v>Dec-23</c:v>
                </c:pt>
                <c:pt idx="11">
                  <c:v>Mar-24</c:v>
                </c:pt>
                <c:pt idx="12">
                  <c:v>Aug-24</c:v>
                </c:pt>
              </c:strCache>
            </c:strRef>
          </c:cat>
          <c:val>
            <c:numRef>
              <c:f>Sheet1!$C$2:$C$14</c:f>
              <c:numCache>
                <c:formatCode>General</c:formatCode>
                <c:ptCount val="13"/>
                <c:pt idx="0">
                  <c:v>0.42</c:v>
                </c:pt>
                <c:pt idx="1">
                  <c:v>0.33</c:v>
                </c:pt>
                <c:pt idx="2">
                  <c:v>2.0</c:v>
                </c:pt>
                <c:pt idx="3">
                  <c:v>2.0</c:v>
                </c:pt>
                <c:pt idx="4">
                  <c:v>0.0</c:v>
                </c:pt>
                <c:pt idx="5">
                  <c:v>1.5</c:v>
                </c:pt>
                <c:pt idx="6">
                  <c:v>3.33</c:v>
                </c:pt>
                <c:pt idx="7">
                  <c:v>0.67</c:v>
                </c:pt>
                <c:pt idx="8">
                  <c:v>2.0</c:v>
                </c:pt>
                <c:pt idx="9">
                  <c:v>2.0</c:v>
                </c:pt>
                <c:pt idx="10">
                  <c:v>2.0</c:v>
                </c:pt>
                <c:pt idx="11">
                  <c:v>1.33</c:v>
                </c:pt>
                <c:pt idx="12">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2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5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6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237</c:v>
                </c:pt>
                <c:pt idx="1">
                  <c:v>46784</c:v>
                </c:pt>
                <c:pt idx="2">
                  <c:v>282066</c:v>
                </c:pt>
                <c:pt idx="3">
                  <c:v>509765</c:v>
                </c:pt>
                <c:pt idx="4">
                  <c:v>472989</c:v>
                </c:pt>
                <c:pt idx="5">
                  <c:v>49034</c:v>
                </c:pt>
                <c:pt idx="6">
                  <c:v>27632</c:v>
                </c:pt>
                <c:pt idx="7">
                  <c:v>21247</c:v>
                </c:pt>
                <c:pt idx="8">
                  <c:v>17761</c:v>
                </c:pt>
                <c:pt idx="9">
                  <c:v>19165</c:v>
                </c:pt>
                <c:pt idx="10">
                  <c:v>19392</c:v>
                </c:pt>
                <c:pt idx="11">
                  <c:v>18830</c:v>
                </c:pt>
                <c:pt idx="12">
                  <c:v>20245</c:v>
                </c:pt>
                <c:pt idx="13">
                  <c:v>17523</c:v>
                </c:pt>
                <c:pt idx="14">
                  <c:v>195253</c:v>
                </c:pt>
                <c:pt idx="15">
                  <c:v>787703</c:v>
                </c:pt>
                <c:pt idx="16">
                  <c:v>2904593</c:v>
                </c:pt>
                <c:pt idx="17">
                  <c:v>95070</c:v>
                </c:pt>
                <c:pt idx="18">
                  <c:v>21370</c:v>
                </c:pt>
                <c:pt idx="19">
                  <c:v>21140</c:v>
                </c:pt>
                <c:pt idx="20">
                  <c:v>20281</c:v>
                </c:pt>
                <c:pt idx="21">
                  <c:v>21272</c:v>
                </c:pt>
                <c:pt idx="22">
                  <c:v>25623</c:v>
                </c:pt>
                <c:pt idx="23">
                  <c:v>20284</c:v>
                </c:pt>
                <c:pt idx="24">
                  <c:v>246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82</c:v>
                </c:pt>
                <c:pt idx="1">
                  <c:v>29.63</c:v>
                </c:pt>
                <c:pt idx="2">
                  <c:v>1.18</c:v>
                </c:pt>
                <c:pt idx="3">
                  <c:v>1.08</c:v>
                </c:pt>
                <c:pt idx="4">
                  <c:v>1.06</c:v>
                </c:pt>
                <c:pt idx="5">
                  <c:v>3.08</c:v>
                </c:pt>
                <c:pt idx="6">
                  <c:v>3.92</c:v>
                </c:pt>
                <c:pt idx="7">
                  <c:v>3.46</c:v>
                </c:pt>
                <c:pt idx="8">
                  <c:v>3.24</c:v>
                </c:pt>
                <c:pt idx="9">
                  <c:v>3.62</c:v>
                </c:pt>
                <c:pt idx="10">
                  <c:v>3.53</c:v>
                </c:pt>
                <c:pt idx="11">
                  <c:v>3.62</c:v>
                </c:pt>
                <c:pt idx="12">
                  <c:v>3.59</c:v>
                </c:pt>
                <c:pt idx="13">
                  <c:v>3.64</c:v>
                </c:pt>
                <c:pt idx="14">
                  <c:v>3.36</c:v>
                </c:pt>
                <c:pt idx="15">
                  <c:v>3.82</c:v>
                </c:pt>
                <c:pt idx="16">
                  <c:v>3.41</c:v>
                </c:pt>
                <c:pt idx="17">
                  <c:v>2.05</c:v>
                </c:pt>
                <c:pt idx="18">
                  <c:v>2.7</c:v>
                </c:pt>
                <c:pt idx="19">
                  <c:v>3.22</c:v>
                </c:pt>
                <c:pt idx="20">
                  <c:v>3.53</c:v>
                </c:pt>
                <c:pt idx="21">
                  <c:v>3.54</c:v>
                </c:pt>
                <c:pt idx="22">
                  <c:v>3.62</c:v>
                </c:pt>
                <c:pt idx="23">
                  <c:v>3.62</c:v>
                </c:pt>
                <c:pt idx="24">
                  <c:v>3.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5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3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580</c:v>
                </c:pt>
                <c:pt idx="1">
                  <c:v>7772</c:v>
                </c:pt>
                <c:pt idx="2">
                  <c:v>4256</c:v>
                </c:pt>
                <c:pt idx="3">
                  <c:v>3218</c:v>
                </c:pt>
                <c:pt idx="4">
                  <c:v>4913</c:v>
                </c:pt>
                <c:pt idx="5">
                  <c:v>4968</c:v>
                </c:pt>
                <c:pt idx="6">
                  <c:v>3845</c:v>
                </c:pt>
                <c:pt idx="7">
                  <c:v>2970</c:v>
                </c:pt>
                <c:pt idx="8">
                  <c:v>6551</c:v>
                </c:pt>
                <c:pt idx="9">
                  <c:v>5929</c:v>
                </c:pt>
                <c:pt idx="10">
                  <c:v>2148</c:v>
                </c:pt>
                <c:pt idx="11">
                  <c:v>3371</c:v>
                </c:pt>
                <c:pt idx="12">
                  <c:v>2750</c:v>
                </c:pt>
                <c:pt idx="13">
                  <c:v>1914</c:v>
                </c:pt>
                <c:pt idx="14">
                  <c:v>2784</c:v>
                </c:pt>
                <c:pt idx="15">
                  <c:v>5902</c:v>
                </c:pt>
                <c:pt idx="16">
                  <c:v>7679</c:v>
                </c:pt>
                <c:pt idx="17">
                  <c:v>6591</c:v>
                </c:pt>
                <c:pt idx="18">
                  <c:v>14963</c:v>
                </c:pt>
                <c:pt idx="19">
                  <c:v>10232</c:v>
                </c:pt>
                <c:pt idx="20">
                  <c:v>16422</c:v>
                </c:pt>
                <c:pt idx="21">
                  <c:v>13270</c:v>
                </c:pt>
                <c:pt idx="22">
                  <c:v>11304</c:v>
                </c:pt>
                <c:pt idx="23">
                  <c:v>17172</c:v>
                </c:pt>
                <c:pt idx="24">
                  <c:v>113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1</c:v>
                </c:pt>
                <c:pt idx="1">
                  <c:v>2.4</c:v>
                </c:pt>
                <c:pt idx="2">
                  <c:v>2.36</c:v>
                </c:pt>
                <c:pt idx="3">
                  <c:v>3.06</c:v>
                </c:pt>
                <c:pt idx="4">
                  <c:v>3.49</c:v>
                </c:pt>
                <c:pt idx="5">
                  <c:v>4.09</c:v>
                </c:pt>
                <c:pt idx="6">
                  <c:v>2.94</c:v>
                </c:pt>
                <c:pt idx="7">
                  <c:v>3.84</c:v>
                </c:pt>
                <c:pt idx="8">
                  <c:v>3.46</c:v>
                </c:pt>
                <c:pt idx="9">
                  <c:v>3.53</c:v>
                </c:pt>
                <c:pt idx="10">
                  <c:v>3.2</c:v>
                </c:pt>
                <c:pt idx="11">
                  <c:v>2.8</c:v>
                </c:pt>
                <c:pt idx="12">
                  <c:v>2.15</c:v>
                </c:pt>
                <c:pt idx="13">
                  <c:v>2.51</c:v>
                </c:pt>
                <c:pt idx="14">
                  <c:v>2.18</c:v>
                </c:pt>
                <c:pt idx="15">
                  <c:v>3.46</c:v>
                </c:pt>
                <c:pt idx="16">
                  <c:v>4.36</c:v>
                </c:pt>
                <c:pt idx="17">
                  <c:v>2.45</c:v>
                </c:pt>
                <c:pt idx="18">
                  <c:v>2.65</c:v>
                </c:pt>
                <c:pt idx="19">
                  <c:v>2.31</c:v>
                </c:pt>
                <c:pt idx="20">
                  <c:v>2.64</c:v>
                </c:pt>
                <c:pt idx="21">
                  <c:v>2.26</c:v>
                </c:pt>
                <c:pt idx="22">
                  <c:v>2.41</c:v>
                </c:pt>
                <c:pt idx="23">
                  <c:v>2.22</c:v>
                </c:pt>
                <c:pt idx="24">
                  <c:v>2.5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773,7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245,9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7,974,3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1773784</c:v>
                </c:pt>
                <c:pt idx="1">
                  <c:v>51896883</c:v>
                </c:pt>
                <c:pt idx="2">
                  <c:v>49612361</c:v>
                </c:pt>
                <c:pt idx="3">
                  <c:v>47042344</c:v>
                </c:pt>
                <c:pt idx="4">
                  <c:v>54572352</c:v>
                </c:pt>
                <c:pt idx="5">
                  <c:v>48430845</c:v>
                </c:pt>
                <c:pt idx="6">
                  <c:v>46526457</c:v>
                </c:pt>
                <c:pt idx="7">
                  <c:v>55047777</c:v>
                </c:pt>
                <c:pt idx="8">
                  <c:v>54964073</c:v>
                </c:pt>
                <c:pt idx="9">
                  <c:v>60847178</c:v>
                </c:pt>
                <c:pt idx="10">
                  <c:v>62750573</c:v>
                </c:pt>
                <c:pt idx="11">
                  <c:v>67398010</c:v>
                </c:pt>
                <c:pt idx="12">
                  <c:v>66421077</c:v>
                </c:pt>
                <c:pt idx="13">
                  <c:v>54245978</c:v>
                </c:pt>
                <c:pt idx="14">
                  <c:v>51295518</c:v>
                </c:pt>
                <c:pt idx="15">
                  <c:v>48721071</c:v>
                </c:pt>
                <c:pt idx="16">
                  <c:v>59037636</c:v>
                </c:pt>
                <c:pt idx="17">
                  <c:v>48499611</c:v>
                </c:pt>
                <c:pt idx="18">
                  <c:v>49214222</c:v>
                </c:pt>
                <c:pt idx="19">
                  <c:v>56776056</c:v>
                </c:pt>
                <c:pt idx="20">
                  <c:v>54660171</c:v>
                </c:pt>
                <c:pt idx="21">
                  <c:v>61733863</c:v>
                </c:pt>
                <c:pt idx="22">
                  <c:v>64659566</c:v>
                </c:pt>
                <c:pt idx="23">
                  <c:v>68754634</c:v>
                </c:pt>
                <c:pt idx="24">
                  <c:v>6797430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4</c:v>
                </c:pt>
                <c:pt idx="1">
                  <c:v>3.75</c:v>
                </c:pt>
                <c:pt idx="2">
                  <c:v>3.65</c:v>
                </c:pt>
                <c:pt idx="3">
                  <c:v>3.57</c:v>
                </c:pt>
                <c:pt idx="4">
                  <c:v>3.51</c:v>
                </c:pt>
                <c:pt idx="5">
                  <c:v>3.73</c:v>
                </c:pt>
                <c:pt idx="6">
                  <c:v>3.72</c:v>
                </c:pt>
                <c:pt idx="7">
                  <c:v>3.76</c:v>
                </c:pt>
                <c:pt idx="8">
                  <c:v>3.88</c:v>
                </c:pt>
                <c:pt idx="9">
                  <c:v>3.86</c:v>
                </c:pt>
                <c:pt idx="10">
                  <c:v>3.91</c:v>
                </c:pt>
                <c:pt idx="11">
                  <c:v>3.82</c:v>
                </c:pt>
                <c:pt idx="12">
                  <c:v>3.76</c:v>
                </c:pt>
                <c:pt idx="13">
                  <c:v>3.71</c:v>
                </c:pt>
                <c:pt idx="14">
                  <c:v>3.62</c:v>
                </c:pt>
                <c:pt idx="15">
                  <c:v>3.55</c:v>
                </c:pt>
                <c:pt idx="16">
                  <c:v>3.54</c:v>
                </c:pt>
                <c:pt idx="17">
                  <c:v>3.6</c:v>
                </c:pt>
                <c:pt idx="18">
                  <c:v>3.61</c:v>
                </c:pt>
                <c:pt idx="19">
                  <c:v>3.68</c:v>
                </c:pt>
                <c:pt idx="20">
                  <c:v>3.67</c:v>
                </c:pt>
                <c:pt idx="21">
                  <c:v>3.65</c:v>
                </c:pt>
                <c:pt idx="22">
                  <c:v>3.74</c:v>
                </c:pt>
                <c:pt idx="23">
                  <c:v>3.69</c:v>
                </c:pt>
                <c:pt idx="24">
                  <c:v>3.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7,3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7,2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6,1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7341</c:v>
                </c:pt>
                <c:pt idx="1">
                  <c:v>251892</c:v>
                </c:pt>
                <c:pt idx="2">
                  <c:v>155190</c:v>
                </c:pt>
                <c:pt idx="3">
                  <c:v>158794</c:v>
                </c:pt>
                <c:pt idx="4">
                  <c:v>185623</c:v>
                </c:pt>
                <c:pt idx="5">
                  <c:v>223084</c:v>
                </c:pt>
                <c:pt idx="6">
                  <c:v>245842</c:v>
                </c:pt>
                <c:pt idx="7">
                  <c:v>205911</c:v>
                </c:pt>
                <c:pt idx="8">
                  <c:v>188800</c:v>
                </c:pt>
                <c:pt idx="9">
                  <c:v>215829</c:v>
                </c:pt>
                <c:pt idx="10">
                  <c:v>222913</c:v>
                </c:pt>
                <c:pt idx="11">
                  <c:v>223446</c:v>
                </c:pt>
                <c:pt idx="12">
                  <c:v>220624</c:v>
                </c:pt>
                <c:pt idx="13">
                  <c:v>187263</c:v>
                </c:pt>
                <c:pt idx="14">
                  <c:v>135919</c:v>
                </c:pt>
                <c:pt idx="15">
                  <c:v>130047</c:v>
                </c:pt>
                <c:pt idx="16">
                  <c:v>123008</c:v>
                </c:pt>
                <c:pt idx="17">
                  <c:v>131007</c:v>
                </c:pt>
                <c:pt idx="18">
                  <c:v>166552</c:v>
                </c:pt>
                <c:pt idx="19">
                  <c:v>189810</c:v>
                </c:pt>
                <c:pt idx="20">
                  <c:v>169890</c:v>
                </c:pt>
                <c:pt idx="21">
                  <c:v>168981</c:v>
                </c:pt>
                <c:pt idx="22">
                  <c:v>166482</c:v>
                </c:pt>
                <c:pt idx="23">
                  <c:v>162096</c:v>
                </c:pt>
                <c:pt idx="24">
                  <c:v>14610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4</c:v>
                </c:pt>
                <c:pt idx="1">
                  <c:v>4.0</c:v>
                </c:pt>
                <c:pt idx="2">
                  <c:v>2.9</c:v>
                </c:pt>
                <c:pt idx="3">
                  <c:v>2.89</c:v>
                </c:pt>
                <c:pt idx="4">
                  <c:v>3.49</c:v>
                </c:pt>
                <c:pt idx="5">
                  <c:v>3.58</c:v>
                </c:pt>
                <c:pt idx="6">
                  <c:v>4.3</c:v>
                </c:pt>
                <c:pt idx="7">
                  <c:v>3.01</c:v>
                </c:pt>
                <c:pt idx="8">
                  <c:v>3.52</c:v>
                </c:pt>
                <c:pt idx="9">
                  <c:v>3.61</c:v>
                </c:pt>
                <c:pt idx="10">
                  <c:v>3.49</c:v>
                </c:pt>
                <c:pt idx="11">
                  <c:v>3.42</c:v>
                </c:pt>
                <c:pt idx="12">
                  <c:v>3.79</c:v>
                </c:pt>
                <c:pt idx="13">
                  <c:v>3.43</c:v>
                </c:pt>
                <c:pt idx="14">
                  <c:v>3.02</c:v>
                </c:pt>
                <c:pt idx="15">
                  <c:v>2.46</c:v>
                </c:pt>
                <c:pt idx="16">
                  <c:v>2.17</c:v>
                </c:pt>
                <c:pt idx="17">
                  <c:v>2.3</c:v>
                </c:pt>
                <c:pt idx="18">
                  <c:v>2.91</c:v>
                </c:pt>
                <c:pt idx="19">
                  <c:v>3.26</c:v>
                </c:pt>
                <c:pt idx="20">
                  <c:v>2.86</c:v>
                </c:pt>
                <c:pt idx="21">
                  <c:v>2.7</c:v>
                </c:pt>
                <c:pt idx="22">
                  <c:v>2.7</c:v>
                </c:pt>
                <c:pt idx="23">
                  <c:v>2.53</c:v>
                </c:pt>
                <c:pt idx="24">
                  <c:v>2.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2,4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7,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7,1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2475</c:v>
                </c:pt>
                <c:pt idx="1">
                  <c:v>126861</c:v>
                </c:pt>
                <c:pt idx="2">
                  <c:v>138009</c:v>
                </c:pt>
                <c:pt idx="3">
                  <c:v>130672</c:v>
                </c:pt>
                <c:pt idx="4">
                  <c:v>153691</c:v>
                </c:pt>
                <c:pt idx="5">
                  <c:v>209173</c:v>
                </c:pt>
                <c:pt idx="6">
                  <c:v>159883</c:v>
                </c:pt>
                <c:pt idx="7">
                  <c:v>193488</c:v>
                </c:pt>
                <c:pt idx="8">
                  <c:v>198488</c:v>
                </c:pt>
                <c:pt idx="9">
                  <c:v>221672</c:v>
                </c:pt>
                <c:pt idx="10">
                  <c:v>282210</c:v>
                </c:pt>
                <c:pt idx="11">
                  <c:v>239176</c:v>
                </c:pt>
                <c:pt idx="12">
                  <c:v>240954</c:v>
                </c:pt>
                <c:pt idx="13">
                  <c:v>227601</c:v>
                </c:pt>
                <c:pt idx="14">
                  <c:v>246668</c:v>
                </c:pt>
                <c:pt idx="15">
                  <c:v>227310</c:v>
                </c:pt>
                <c:pt idx="16">
                  <c:v>204632</c:v>
                </c:pt>
                <c:pt idx="17">
                  <c:v>209722</c:v>
                </c:pt>
                <c:pt idx="18">
                  <c:v>188387</c:v>
                </c:pt>
                <c:pt idx="19">
                  <c:v>235625</c:v>
                </c:pt>
                <c:pt idx="20">
                  <c:v>241760</c:v>
                </c:pt>
                <c:pt idx="21">
                  <c:v>215018</c:v>
                </c:pt>
                <c:pt idx="22">
                  <c:v>221399</c:v>
                </c:pt>
                <c:pt idx="23">
                  <c:v>209485</c:v>
                </c:pt>
                <c:pt idx="24">
                  <c:v>1971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7</c:v>
                </c:pt>
                <c:pt idx="1">
                  <c:v>1.58</c:v>
                </c:pt>
                <c:pt idx="2">
                  <c:v>1.56</c:v>
                </c:pt>
                <c:pt idx="3">
                  <c:v>1.39</c:v>
                </c:pt>
                <c:pt idx="4">
                  <c:v>1.59</c:v>
                </c:pt>
                <c:pt idx="5">
                  <c:v>1.63</c:v>
                </c:pt>
                <c:pt idx="6">
                  <c:v>1.87</c:v>
                </c:pt>
                <c:pt idx="7">
                  <c:v>2.03</c:v>
                </c:pt>
                <c:pt idx="8">
                  <c:v>2.09</c:v>
                </c:pt>
                <c:pt idx="9">
                  <c:v>1.98</c:v>
                </c:pt>
                <c:pt idx="10">
                  <c:v>1.72</c:v>
                </c:pt>
                <c:pt idx="11">
                  <c:v>1.97</c:v>
                </c:pt>
                <c:pt idx="12">
                  <c:v>2.15</c:v>
                </c:pt>
                <c:pt idx="13">
                  <c:v>1.96</c:v>
                </c:pt>
                <c:pt idx="14">
                  <c:v>1.83</c:v>
                </c:pt>
                <c:pt idx="15">
                  <c:v>1.56</c:v>
                </c:pt>
                <c:pt idx="16">
                  <c:v>1.8</c:v>
                </c:pt>
                <c:pt idx="17">
                  <c:v>1.85</c:v>
                </c:pt>
                <c:pt idx="18">
                  <c:v>1.83</c:v>
                </c:pt>
                <c:pt idx="19">
                  <c:v>1.65</c:v>
                </c:pt>
                <c:pt idx="20">
                  <c:v>1.69</c:v>
                </c:pt>
                <c:pt idx="21">
                  <c:v>1.79</c:v>
                </c:pt>
                <c:pt idx="22">
                  <c:v>1.81</c:v>
                </c:pt>
                <c:pt idx="23">
                  <c:v>1.77</c:v>
                </c:pt>
                <c:pt idx="24">
                  <c:v>1.7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55,4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10,4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56,3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55415</c:v>
                </c:pt>
                <c:pt idx="1">
                  <c:v>412575</c:v>
                </c:pt>
                <c:pt idx="2">
                  <c:v>405688</c:v>
                </c:pt>
                <c:pt idx="3">
                  <c:v>357581</c:v>
                </c:pt>
                <c:pt idx="4">
                  <c:v>392735</c:v>
                </c:pt>
                <c:pt idx="5">
                  <c:v>357267</c:v>
                </c:pt>
                <c:pt idx="6">
                  <c:v>342357</c:v>
                </c:pt>
                <c:pt idx="7">
                  <c:v>396361</c:v>
                </c:pt>
                <c:pt idx="8">
                  <c:v>375287</c:v>
                </c:pt>
                <c:pt idx="9">
                  <c:v>441032</c:v>
                </c:pt>
                <c:pt idx="10">
                  <c:v>610071</c:v>
                </c:pt>
                <c:pt idx="11">
                  <c:v>782576</c:v>
                </c:pt>
                <c:pt idx="12">
                  <c:v>583601</c:v>
                </c:pt>
                <c:pt idx="13">
                  <c:v>510492</c:v>
                </c:pt>
                <c:pt idx="14">
                  <c:v>583706</c:v>
                </c:pt>
                <c:pt idx="15">
                  <c:v>521039</c:v>
                </c:pt>
                <c:pt idx="16">
                  <c:v>482608</c:v>
                </c:pt>
                <c:pt idx="17">
                  <c:v>502983</c:v>
                </c:pt>
                <c:pt idx="18">
                  <c:v>559143</c:v>
                </c:pt>
                <c:pt idx="19">
                  <c:v>799209</c:v>
                </c:pt>
                <c:pt idx="20">
                  <c:v>609745</c:v>
                </c:pt>
                <c:pt idx="21">
                  <c:v>585395</c:v>
                </c:pt>
                <c:pt idx="22">
                  <c:v>646540</c:v>
                </c:pt>
                <c:pt idx="23">
                  <c:v>558436</c:v>
                </c:pt>
                <c:pt idx="24">
                  <c:v>4563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2</c:v>
                </c:pt>
                <c:pt idx="1">
                  <c:v>2.51</c:v>
                </c:pt>
                <c:pt idx="2">
                  <c:v>2.64</c:v>
                </c:pt>
                <c:pt idx="3">
                  <c:v>2.61</c:v>
                </c:pt>
                <c:pt idx="4">
                  <c:v>2.6</c:v>
                </c:pt>
                <c:pt idx="5">
                  <c:v>2.72</c:v>
                </c:pt>
                <c:pt idx="6">
                  <c:v>2.34</c:v>
                </c:pt>
                <c:pt idx="7">
                  <c:v>2.54</c:v>
                </c:pt>
                <c:pt idx="8">
                  <c:v>2.39</c:v>
                </c:pt>
                <c:pt idx="9">
                  <c:v>2.37</c:v>
                </c:pt>
                <c:pt idx="10">
                  <c:v>2.33</c:v>
                </c:pt>
                <c:pt idx="11">
                  <c:v>2.36</c:v>
                </c:pt>
                <c:pt idx="12">
                  <c:v>2.54</c:v>
                </c:pt>
                <c:pt idx="13">
                  <c:v>2.38</c:v>
                </c:pt>
                <c:pt idx="14">
                  <c:v>2.1</c:v>
                </c:pt>
                <c:pt idx="15">
                  <c:v>2.22</c:v>
                </c:pt>
                <c:pt idx="16">
                  <c:v>2.27</c:v>
                </c:pt>
                <c:pt idx="17">
                  <c:v>2.29</c:v>
                </c:pt>
                <c:pt idx="18">
                  <c:v>2.3</c:v>
                </c:pt>
                <c:pt idx="19">
                  <c:v>2.06</c:v>
                </c:pt>
                <c:pt idx="20">
                  <c:v>2.07</c:v>
                </c:pt>
                <c:pt idx="21">
                  <c:v>2.3</c:v>
                </c:pt>
                <c:pt idx="22">
                  <c:v>2.46</c:v>
                </c:pt>
                <c:pt idx="23">
                  <c:v>2.5</c:v>
                </c:pt>
                <c:pt idx="24">
                  <c:v>2.6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5,8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8,7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5805</c:v>
                </c:pt>
                <c:pt idx="1">
                  <c:v>42663</c:v>
                </c:pt>
                <c:pt idx="2">
                  <c:v>66809</c:v>
                </c:pt>
                <c:pt idx="3">
                  <c:v>43981</c:v>
                </c:pt>
                <c:pt idx="4">
                  <c:v>57321</c:v>
                </c:pt>
                <c:pt idx="5">
                  <c:v>56400</c:v>
                </c:pt>
                <c:pt idx="6">
                  <c:v>62815</c:v>
                </c:pt>
                <c:pt idx="7">
                  <c:v>81377</c:v>
                </c:pt>
                <c:pt idx="8">
                  <c:v>53197</c:v>
                </c:pt>
                <c:pt idx="9">
                  <c:v>68572</c:v>
                </c:pt>
                <c:pt idx="10">
                  <c:v>52919</c:v>
                </c:pt>
                <c:pt idx="11">
                  <c:v>76888</c:v>
                </c:pt>
                <c:pt idx="12">
                  <c:v>59008</c:v>
                </c:pt>
                <c:pt idx="13">
                  <c:v>58727</c:v>
                </c:pt>
                <c:pt idx="14">
                  <c:v>63391</c:v>
                </c:pt>
                <c:pt idx="15">
                  <c:v>51184</c:v>
                </c:pt>
                <c:pt idx="16">
                  <c:v>72034</c:v>
                </c:pt>
                <c:pt idx="17">
                  <c:v>52447</c:v>
                </c:pt>
                <c:pt idx="18">
                  <c:v>58757</c:v>
                </c:pt>
                <c:pt idx="19">
                  <c:v>39230</c:v>
                </c:pt>
                <c:pt idx="20">
                  <c:v>41843</c:v>
                </c:pt>
                <c:pt idx="21">
                  <c:v>53278</c:v>
                </c:pt>
                <c:pt idx="22">
                  <c:v>46728</c:v>
                </c:pt>
                <c:pt idx="23">
                  <c:v>38532</c:v>
                </c:pt>
                <c:pt idx="24">
                  <c:v>360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08</c:v>
                </c:pt>
                <c:pt idx="1">
                  <c:v>2.31</c:v>
                </c:pt>
                <c:pt idx="2">
                  <c:v>2.82</c:v>
                </c:pt>
                <c:pt idx="3">
                  <c:v>2.29</c:v>
                </c:pt>
                <c:pt idx="4">
                  <c:v>2.57</c:v>
                </c:pt>
                <c:pt idx="5">
                  <c:v>2.67</c:v>
                </c:pt>
                <c:pt idx="6">
                  <c:v>3.06</c:v>
                </c:pt>
                <c:pt idx="7">
                  <c:v>2.82</c:v>
                </c:pt>
                <c:pt idx="8">
                  <c:v>2.67</c:v>
                </c:pt>
                <c:pt idx="9">
                  <c:v>2.56</c:v>
                </c:pt>
                <c:pt idx="10">
                  <c:v>2.59</c:v>
                </c:pt>
                <c:pt idx="11">
                  <c:v>2.02</c:v>
                </c:pt>
                <c:pt idx="12">
                  <c:v>1.54</c:v>
                </c:pt>
                <c:pt idx="13">
                  <c:v>1.77</c:v>
                </c:pt>
                <c:pt idx="14">
                  <c:v>1.66</c:v>
                </c:pt>
                <c:pt idx="15">
                  <c:v>1.97</c:v>
                </c:pt>
                <c:pt idx="16">
                  <c:v>1.97</c:v>
                </c:pt>
                <c:pt idx="17">
                  <c:v>1.5</c:v>
                </c:pt>
                <c:pt idx="18">
                  <c:v>2.03</c:v>
                </c:pt>
                <c:pt idx="19">
                  <c:v>1.5</c:v>
                </c:pt>
                <c:pt idx="20">
                  <c:v>1.61</c:v>
                </c:pt>
                <c:pt idx="21">
                  <c:v>1.74</c:v>
                </c:pt>
                <c:pt idx="22">
                  <c:v>1.75</c:v>
                </c:pt>
                <c:pt idx="23">
                  <c:v>1.69</c:v>
                </c:pt>
                <c:pt idx="24">
                  <c:v>1.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5,9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2,6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686</c:v>
                </c:pt>
                <c:pt idx="1">
                  <c:v>66149</c:v>
                </c:pt>
                <c:pt idx="2">
                  <c:v>62724</c:v>
                </c:pt>
                <c:pt idx="3">
                  <c:v>56423</c:v>
                </c:pt>
                <c:pt idx="4">
                  <c:v>52101</c:v>
                </c:pt>
                <c:pt idx="5">
                  <c:v>69985</c:v>
                </c:pt>
                <c:pt idx="6">
                  <c:v>63182</c:v>
                </c:pt>
                <c:pt idx="7">
                  <c:v>87936</c:v>
                </c:pt>
                <c:pt idx="8">
                  <c:v>81007</c:v>
                </c:pt>
                <c:pt idx="9">
                  <c:v>90590</c:v>
                </c:pt>
                <c:pt idx="10">
                  <c:v>115299</c:v>
                </c:pt>
                <c:pt idx="11">
                  <c:v>121607</c:v>
                </c:pt>
                <c:pt idx="12">
                  <c:v>115078</c:v>
                </c:pt>
                <c:pt idx="13">
                  <c:v>105972</c:v>
                </c:pt>
                <c:pt idx="14">
                  <c:v>102912</c:v>
                </c:pt>
                <c:pt idx="15">
                  <c:v>106895</c:v>
                </c:pt>
                <c:pt idx="16">
                  <c:v>100196</c:v>
                </c:pt>
                <c:pt idx="17">
                  <c:v>112232</c:v>
                </c:pt>
                <c:pt idx="18">
                  <c:v>125181</c:v>
                </c:pt>
                <c:pt idx="19">
                  <c:v>155223</c:v>
                </c:pt>
                <c:pt idx="20">
                  <c:v>171362</c:v>
                </c:pt>
                <c:pt idx="21">
                  <c:v>169218</c:v>
                </c:pt>
                <c:pt idx="22">
                  <c:v>209768</c:v>
                </c:pt>
                <c:pt idx="23">
                  <c:v>234902</c:v>
                </c:pt>
                <c:pt idx="24">
                  <c:v>2026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9</c:v>
                </c:pt>
                <c:pt idx="1">
                  <c:v>2.33</c:v>
                </c:pt>
                <c:pt idx="2">
                  <c:v>2.76</c:v>
                </c:pt>
                <c:pt idx="3">
                  <c:v>3.22</c:v>
                </c:pt>
                <c:pt idx="4">
                  <c:v>3.5</c:v>
                </c:pt>
                <c:pt idx="5">
                  <c:v>3.12</c:v>
                </c:pt>
                <c:pt idx="6">
                  <c:v>2.8</c:v>
                </c:pt>
                <c:pt idx="7">
                  <c:v>2.52</c:v>
                </c:pt>
                <c:pt idx="8">
                  <c:v>2.36</c:v>
                </c:pt>
                <c:pt idx="9">
                  <c:v>2.16</c:v>
                </c:pt>
                <c:pt idx="10">
                  <c:v>2.44</c:v>
                </c:pt>
                <c:pt idx="11">
                  <c:v>2.45</c:v>
                </c:pt>
                <c:pt idx="12">
                  <c:v>2.27</c:v>
                </c:pt>
                <c:pt idx="13">
                  <c:v>2.04</c:v>
                </c:pt>
                <c:pt idx="14">
                  <c:v>2.19</c:v>
                </c:pt>
                <c:pt idx="15">
                  <c:v>2.55</c:v>
                </c:pt>
                <c:pt idx="16">
                  <c:v>3.36</c:v>
                </c:pt>
                <c:pt idx="17">
                  <c:v>3.12</c:v>
                </c:pt>
                <c:pt idx="18">
                  <c:v>3.04</c:v>
                </c:pt>
                <c:pt idx="19">
                  <c:v>3.07</c:v>
                </c:pt>
                <c:pt idx="20">
                  <c:v>3.01</c:v>
                </c:pt>
                <c:pt idx="21">
                  <c:v>3.0</c:v>
                </c:pt>
                <c:pt idx="22">
                  <c:v>3.2</c:v>
                </c:pt>
                <c:pt idx="23">
                  <c:v>3.08</c:v>
                </c:pt>
                <c:pt idx="24">
                  <c:v>3.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05,1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91,5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05,4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805128</c:v>
                </c:pt>
                <c:pt idx="1">
                  <c:v>2426553</c:v>
                </c:pt>
                <c:pt idx="2">
                  <c:v>2330115</c:v>
                </c:pt>
                <c:pt idx="3">
                  <c:v>2147482</c:v>
                </c:pt>
                <c:pt idx="4">
                  <c:v>2288841</c:v>
                </c:pt>
                <c:pt idx="5">
                  <c:v>1939781</c:v>
                </c:pt>
                <c:pt idx="6">
                  <c:v>1886080</c:v>
                </c:pt>
                <c:pt idx="7">
                  <c:v>2236972</c:v>
                </c:pt>
                <c:pt idx="8">
                  <c:v>2130519</c:v>
                </c:pt>
                <c:pt idx="9">
                  <c:v>2173673</c:v>
                </c:pt>
                <c:pt idx="10">
                  <c:v>2271495</c:v>
                </c:pt>
                <c:pt idx="11">
                  <c:v>2351609</c:v>
                </c:pt>
                <c:pt idx="12">
                  <c:v>2212482</c:v>
                </c:pt>
                <c:pt idx="13">
                  <c:v>1791506</c:v>
                </c:pt>
                <c:pt idx="14">
                  <c:v>1791257</c:v>
                </c:pt>
                <c:pt idx="15">
                  <c:v>1440237</c:v>
                </c:pt>
                <c:pt idx="16">
                  <c:v>1607731</c:v>
                </c:pt>
                <c:pt idx="17">
                  <c:v>1454521</c:v>
                </c:pt>
                <c:pt idx="18">
                  <c:v>1453750</c:v>
                </c:pt>
                <c:pt idx="19">
                  <c:v>1715907</c:v>
                </c:pt>
                <c:pt idx="20">
                  <c:v>1583171</c:v>
                </c:pt>
                <c:pt idx="21">
                  <c:v>1656680</c:v>
                </c:pt>
                <c:pt idx="22">
                  <c:v>1770899</c:v>
                </c:pt>
                <c:pt idx="23">
                  <c:v>1851074</c:v>
                </c:pt>
                <c:pt idx="24">
                  <c:v>17054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54</c:v>
                </c:pt>
                <c:pt idx="1">
                  <c:v>4.58</c:v>
                </c:pt>
                <c:pt idx="2">
                  <c:v>4.54</c:v>
                </c:pt>
                <c:pt idx="3">
                  <c:v>4.46</c:v>
                </c:pt>
                <c:pt idx="4">
                  <c:v>4.56</c:v>
                </c:pt>
                <c:pt idx="5">
                  <c:v>4.55</c:v>
                </c:pt>
                <c:pt idx="6">
                  <c:v>4.55</c:v>
                </c:pt>
                <c:pt idx="7">
                  <c:v>4.65</c:v>
                </c:pt>
                <c:pt idx="8">
                  <c:v>4.69</c:v>
                </c:pt>
                <c:pt idx="9">
                  <c:v>4.81</c:v>
                </c:pt>
                <c:pt idx="10">
                  <c:v>4.75</c:v>
                </c:pt>
                <c:pt idx="11">
                  <c:v>4.75</c:v>
                </c:pt>
                <c:pt idx="12">
                  <c:v>4.69</c:v>
                </c:pt>
                <c:pt idx="13">
                  <c:v>4.82</c:v>
                </c:pt>
                <c:pt idx="14">
                  <c:v>4.74</c:v>
                </c:pt>
                <c:pt idx="15">
                  <c:v>4.89</c:v>
                </c:pt>
                <c:pt idx="16">
                  <c:v>4.9</c:v>
                </c:pt>
                <c:pt idx="17">
                  <c:v>4.8</c:v>
                </c:pt>
                <c:pt idx="18">
                  <c:v>4.73</c:v>
                </c:pt>
                <c:pt idx="19">
                  <c:v>4.64</c:v>
                </c:pt>
                <c:pt idx="20">
                  <c:v>4.67</c:v>
                </c:pt>
                <c:pt idx="21">
                  <c:v>4.7</c:v>
                </c:pt>
                <c:pt idx="22">
                  <c:v>4.69</c:v>
                </c:pt>
                <c:pt idx="23">
                  <c:v>4.71</c:v>
                </c:pt>
                <c:pt idx="24">
                  <c:v>4.7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0,863,0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0,905,1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5,897,4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0863075</c:v>
                </c:pt>
                <c:pt idx="1">
                  <c:v>59772850</c:v>
                </c:pt>
                <c:pt idx="2">
                  <c:v>57208227</c:v>
                </c:pt>
                <c:pt idx="3">
                  <c:v>52343837</c:v>
                </c:pt>
                <c:pt idx="4">
                  <c:v>60287648</c:v>
                </c:pt>
                <c:pt idx="5">
                  <c:v>55095449</c:v>
                </c:pt>
                <c:pt idx="6">
                  <c:v>53181037</c:v>
                </c:pt>
                <c:pt idx="7">
                  <c:v>61999228</c:v>
                </c:pt>
                <c:pt idx="8">
                  <c:v>60986178</c:v>
                </c:pt>
                <c:pt idx="9">
                  <c:v>68123872</c:v>
                </c:pt>
                <c:pt idx="10">
                  <c:v>71741539</c:v>
                </c:pt>
                <c:pt idx="11">
                  <c:v>75811380</c:v>
                </c:pt>
                <c:pt idx="12">
                  <c:v>73471447</c:v>
                </c:pt>
                <c:pt idx="13">
                  <c:v>60905174</c:v>
                </c:pt>
                <c:pt idx="14">
                  <c:v>58255945</c:v>
                </c:pt>
                <c:pt idx="15">
                  <c:v>53438758</c:v>
                </c:pt>
                <c:pt idx="16">
                  <c:v>61136041</c:v>
                </c:pt>
                <c:pt idx="17">
                  <c:v>54386980</c:v>
                </c:pt>
                <c:pt idx="18">
                  <c:v>55842606</c:v>
                </c:pt>
                <c:pt idx="19">
                  <c:v>64910127</c:v>
                </c:pt>
                <c:pt idx="20">
                  <c:v>63354170</c:v>
                </c:pt>
                <c:pt idx="21">
                  <c:v>70337860</c:v>
                </c:pt>
                <c:pt idx="22">
                  <c:v>74208592</c:v>
                </c:pt>
                <c:pt idx="23">
                  <c:v>78052171</c:v>
                </c:pt>
                <c:pt idx="24">
                  <c:v>758974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9</c:v>
                </c:pt>
                <c:pt idx="1">
                  <c:v>1.75</c:v>
                </c:pt>
                <c:pt idx="2">
                  <c:v>1.71</c:v>
                </c:pt>
                <c:pt idx="3">
                  <c:v>1.7</c:v>
                </c:pt>
                <c:pt idx="4">
                  <c:v>1.74</c:v>
                </c:pt>
                <c:pt idx="5">
                  <c:v>1.76</c:v>
                </c:pt>
                <c:pt idx="6">
                  <c:v>1.73</c:v>
                </c:pt>
                <c:pt idx="7">
                  <c:v>1.79</c:v>
                </c:pt>
                <c:pt idx="8">
                  <c:v>1.84</c:v>
                </c:pt>
                <c:pt idx="9">
                  <c:v>1.85</c:v>
                </c:pt>
                <c:pt idx="10">
                  <c:v>1.87</c:v>
                </c:pt>
                <c:pt idx="11">
                  <c:v>1.87</c:v>
                </c:pt>
                <c:pt idx="12">
                  <c:v>1.89</c:v>
                </c:pt>
                <c:pt idx="13">
                  <c:v>1.84</c:v>
                </c:pt>
                <c:pt idx="14">
                  <c:v>1.76</c:v>
                </c:pt>
                <c:pt idx="15">
                  <c:v>1.74</c:v>
                </c:pt>
                <c:pt idx="16">
                  <c:v>1.78</c:v>
                </c:pt>
                <c:pt idx="17">
                  <c:v>1.74</c:v>
                </c:pt>
                <c:pt idx="18">
                  <c:v>1.76</c:v>
                </c:pt>
                <c:pt idx="19">
                  <c:v>1.77</c:v>
                </c:pt>
                <c:pt idx="20">
                  <c:v>1.8</c:v>
                </c:pt>
                <c:pt idx="21">
                  <c:v>1.82</c:v>
                </c:pt>
                <c:pt idx="22">
                  <c:v>1.84</c:v>
                </c:pt>
                <c:pt idx="23">
                  <c:v>1.83</c:v>
                </c:pt>
                <c:pt idx="24">
                  <c:v>1.8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748,3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73,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222,9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748307</c:v>
                </c:pt>
                <c:pt idx="1">
                  <c:v>7892379</c:v>
                </c:pt>
                <c:pt idx="2">
                  <c:v>8650291</c:v>
                </c:pt>
                <c:pt idx="3">
                  <c:v>9869233</c:v>
                </c:pt>
                <c:pt idx="4">
                  <c:v>11534862</c:v>
                </c:pt>
                <c:pt idx="5">
                  <c:v>8177753</c:v>
                </c:pt>
                <c:pt idx="6">
                  <c:v>7683989</c:v>
                </c:pt>
                <c:pt idx="7">
                  <c:v>9407901</c:v>
                </c:pt>
                <c:pt idx="8">
                  <c:v>9138865</c:v>
                </c:pt>
                <c:pt idx="9">
                  <c:v>9339007</c:v>
                </c:pt>
                <c:pt idx="10">
                  <c:v>9176002</c:v>
                </c:pt>
                <c:pt idx="11">
                  <c:v>9862844</c:v>
                </c:pt>
                <c:pt idx="12">
                  <c:v>9705797</c:v>
                </c:pt>
                <c:pt idx="13">
                  <c:v>8573640</c:v>
                </c:pt>
                <c:pt idx="14">
                  <c:v>9117626</c:v>
                </c:pt>
                <c:pt idx="15">
                  <c:v>10360212</c:v>
                </c:pt>
                <c:pt idx="16">
                  <c:v>16206403</c:v>
                </c:pt>
                <c:pt idx="17">
                  <c:v>8956809</c:v>
                </c:pt>
                <c:pt idx="18">
                  <c:v>8671395</c:v>
                </c:pt>
                <c:pt idx="19">
                  <c:v>9589887</c:v>
                </c:pt>
                <c:pt idx="20">
                  <c:v>9232794</c:v>
                </c:pt>
                <c:pt idx="21">
                  <c:v>9966292</c:v>
                </c:pt>
                <c:pt idx="22">
                  <c:v>9939514</c:v>
                </c:pt>
                <c:pt idx="23">
                  <c:v>10419488</c:v>
                </c:pt>
                <c:pt idx="24">
                  <c:v>102229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6</c:v>
                </c:pt>
                <c:pt idx="1">
                  <c:v>2.19</c:v>
                </c:pt>
                <c:pt idx="2">
                  <c:v>2.1</c:v>
                </c:pt>
                <c:pt idx="3">
                  <c:v>2.03</c:v>
                </c:pt>
                <c:pt idx="4">
                  <c:v>1.97</c:v>
                </c:pt>
                <c:pt idx="5">
                  <c:v>2.17</c:v>
                </c:pt>
                <c:pt idx="6">
                  <c:v>2.24</c:v>
                </c:pt>
                <c:pt idx="7">
                  <c:v>2.34</c:v>
                </c:pt>
                <c:pt idx="8">
                  <c:v>2.37</c:v>
                </c:pt>
                <c:pt idx="9">
                  <c:v>2.37</c:v>
                </c:pt>
                <c:pt idx="10">
                  <c:v>2.39</c:v>
                </c:pt>
                <c:pt idx="11">
                  <c:v>2.27</c:v>
                </c:pt>
                <c:pt idx="12">
                  <c:v>2.31</c:v>
                </c:pt>
                <c:pt idx="13">
                  <c:v>2.28</c:v>
                </c:pt>
                <c:pt idx="14">
                  <c:v>2.29</c:v>
                </c:pt>
                <c:pt idx="15">
                  <c:v>2.43</c:v>
                </c:pt>
                <c:pt idx="16">
                  <c:v>2.43</c:v>
                </c:pt>
                <c:pt idx="17">
                  <c:v>2.25</c:v>
                </c:pt>
                <c:pt idx="18">
                  <c:v>2.28</c:v>
                </c:pt>
                <c:pt idx="19">
                  <c:v>2.36</c:v>
                </c:pt>
                <c:pt idx="20">
                  <c:v>2.36</c:v>
                </c:pt>
                <c:pt idx="21">
                  <c:v>2.37</c:v>
                </c:pt>
                <c:pt idx="22">
                  <c:v>2.43</c:v>
                </c:pt>
                <c:pt idx="23">
                  <c:v>2.34</c:v>
                </c:pt>
                <c:pt idx="24">
                  <c:v>2.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148,8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542,6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424,6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148895</c:v>
                </c:pt>
                <c:pt idx="1">
                  <c:v>24426105</c:v>
                </c:pt>
                <c:pt idx="2">
                  <c:v>22891459</c:v>
                </c:pt>
                <c:pt idx="3">
                  <c:v>21391208</c:v>
                </c:pt>
                <c:pt idx="4">
                  <c:v>24668676</c:v>
                </c:pt>
                <c:pt idx="5">
                  <c:v>21835977</c:v>
                </c:pt>
                <c:pt idx="6">
                  <c:v>21511757</c:v>
                </c:pt>
                <c:pt idx="7">
                  <c:v>25968493</c:v>
                </c:pt>
                <c:pt idx="8">
                  <c:v>25584880</c:v>
                </c:pt>
                <c:pt idx="9">
                  <c:v>28607857</c:v>
                </c:pt>
                <c:pt idx="10">
                  <c:v>30195349</c:v>
                </c:pt>
                <c:pt idx="11">
                  <c:v>31286684</c:v>
                </c:pt>
                <c:pt idx="12">
                  <c:v>29671484</c:v>
                </c:pt>
                <c:pt idx="13">
                  <c:v>24542661</c:v>
                </c:pt>
                <c:pt idx="14">
                  <c:v>23412304</c:v>
                </c:pt>
                <c:pt idx="15">
                  <c:v>21598006</c:v>
                </c:pt>
                <c:pt idx="16">
                  <c:v>25088914</c:v>
                </c:pt>
                <c:pt idx="17">
                  <c:v>21517553</c:v>
                </c:pt>
                <c:pt idx="18">
                  <c:v>21135102</c:v>
                </c:pt>
                <c:pt idx="19">
                  <c:v>24636928</c:v>
                </c:pt>
                <c:pt idx="20">
                  <c:v>24245219</c:v>
                </c:pt>
                <c:pt idx="21">
                  <c:v>27338747</c:v>
                </c:pt>
                <c:pt idx="22">
                  <c:v>28986868</c:v>
                </c:pt>
                <c:pt idx="23">
                  <c:v>31048079</c:v>
                </c:pt>
                <c:pt idx="24">
                  <c:v>3042464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7</c:v>
                </c:pt>
                <c:pt idx="1">
                  <c:v>2.27</c:v>
                </c:pt>
                <c:pt idx="2">
                  <c:v>2.31</c:v>
                </c:pt>
                <c:pt idx="3">
                  <c:v>2.15</c:v>
                </c:pt>
                <c:pt idx="4">
                  <c:v>2.25</c:v>
                </c:pt>
                <c:pt idx="5">
                  <c:v>2.35</c:v>
                </c:pt>
                <c:pt idx="6">
                  <c:v>2.38</c:v>
                </c:pt>
                <c:pt idx="7">
                  <c:v>2.48</c:v>
                </c:pt>
                <c:pt idx="8">
                  <c:v>2.58</c:v>
                </c:pt>
                <c:pt idx="9">
                  <c:v>2.5</c:v>
                </c:pt>
                <c:pt idx="10">
                  <c:v>2.54</c:v>
                </c:pt>
                <c:pt idx="11">
                  <c:v>2.55</c:v>
                </c:pt>
                <c:pt idx="12">
                  <c:v>2.6</c:v>
                </c:pt>
                <c:pt idx="13">
                  <c:v>2.49</c:v>
                </c:pt>
                <c:pt idx="14">
                  <c:v>2.52</c:v>
                </c:pt>
                <c:pt idx="15">
                  <c:v>2.41</c:v>
                </c:pt>
                <c:pt idx="16">
                  <c:v>2.47</c:v>
                </c:pt>
                <c:pt idx="17">
                  <c:v>2.56</c:v>
                </c:pt>
                <c:pt idx="18">
                  <c:v>2.63</c:v>
                </c:pt>
                <c:pt idx="19">
                  <c:v>2.66</c:v>
                </c:pt>
                <c:pt idx="20">
                  <c:v>2.58</c:v>
                </c:pt>
                <c:pt idx="21">
                  <c:v>2.6</c:v>
                </c:pt>
                <c:pt idx="22">
                  <c:v>2.6</c:v>
                </c:pt>
                <c:pt idx="23">
                  <c:v>2.6</c:v>
                </c:pt>
                <c:pt idx="24">
                  <c:v>2.5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13,6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45,3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83,8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13695</c:v>
                </c:pt>
                <c:pt idx="1">
                  <c:v>1433737</c:v>
                </c:pt>
                <c:pt idx="2">
                  <c:v>1464661</c:v>
                </c:pt>
                <c:pt idx="3">
                  <c:v>1389356</c:v>
                </c:pt>
                <c:pt idx="4">
                  <c:v>1470543</c:v>
                </c:pt>
                <c:pt idx="5">
                  <c:v>1420578</c:v>
                </c:pt>
                <c:pt idx="6">
                  <c:v>1531467</c:v>
                </c:pt>
                <c:pt idx="7">
                  <c:v>1483146</c:v>
                </c:pt>
                <c:pt idx="8">
                  <c:v>1433404</c:v>
                </c:pt>
                <c:pt idx="9">
                  <c:v>1668866</c:v>
                </c:pt>
                <c:pt idx="10">
                  <c:v>1926224</c:v>
                </c:pt>
                <c:pt idx="11">
                  <c:v>2136293</c:v>
                </c:pt>
                <c:pt idx="12">
                  <c:v>1649044</c:v>
                </c:pt>
                <c:pt idx="13">
                  <c:v>1545335</c:v>
                </c:pt>
                <c:pt idx="14">
                  <c:v>1749075</c:v>
                </c:pt>
                <c:pt idx="15">
                  <c:v>1557422</c:v>
                </c:pt>
                <c:pt idx="16">
                  <c:v>1620571</c:v>
                </c:pt>
                <c:pt idx="17">
                  <c:v>1531764</c:v>
                </c:pt>
                <c:pt idx="18">
                  <c:v>1559490</c:v>
                </c:pt>
                <c:pt idx="19">
                  <c:v>2210727</c:v>
                </c:pt>
                <c:pt idx="20">
                  <c:v>2160006</c:v>
                </c:pt>
                <c:pt idx="21">
                  <c:v>1981439</c:v>
                </c:pt>
                <c:pt idx="22">
                  <c:v>2154232</c:v>
                </c:pt>
                <c:pt idx="23">
                  <c:v>2542210</c:v>
                </c:pt>
                <c:pt idx="24">
                  <c:v>20838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12</c:v>
                </c:pt>
                <c:pt idx="1">
                  <c:v>1.1</c:v>
                </c:pt>
                <c:pt idx="2">
                  <c:v>1.0</c:v>
                </c:pt>
                <c:pt idx="3">
                  <c:v>0.95</c:v>
                </c:pt>
                <c:pt idx="4">
                  <c:v>1.07</c:v>
                </c:pt>
                <c:pt idx="5">
                  <c:v>1.08</c:v>
                </c:pt>
                <c:pt idx="6">
                  <c:v>0.95</c:v>
                </c:pt>
                <c:pt idx="7">
                  <c:v>1.14</c:v>
                </c:pt>
                <c:pt idx="8">
                  <c:v>1.16</c:v>
                </c:pt>
                <c:pt idx="9">
                  <c:v>1.07</c:v>
                </c:pt>
                <c:pt idx="10">
                  <c:v>1.2</c:v>
                </c:pt>
                <c:pt idx="11">
                  <c:v>1.1</c:v>
                </c:pt>
                <c:pt idx="12">
                  <c:v>1.21</c:v>
                </c:pt>
                <c:pt idx="13">
                  <c:v>1.2</c:v>
                </c:pt>
                <c:pt idx="14">
                  <c:v>1.18</c:v>
                </c:pt>
                <c:pt idx="15">
                  <c:v>1.06</c:v>
                </c:pt>
                <c:pt idx="16">
                  <c:v>1.18</c:v>
                </c:pt>
                <c:pt idx="17">
                  <c:v>1.15</c:v>
                </c:pt>
                <c:pt idx="18">
                  <c:v>1.15</c:v>
                </c:pt>
                <c:pt idx="19">
                  <c:v>1.18</c:v>
                </c:pt>
                <c:pt idx="20">
                  <c:v>1.28</c:v>
                </c:pt>
                <c:pt idx="21">
                  <c:v>1.23</c:v>
                </c:pt>
                <c:pt idx="22">
                  <c:v>1.19</c:v>
                </c:pt>
                <c:pt idx="23">
                  <c:v>1.12</c:v>
                </c:pt>
                <c:pt idx="24">
                  <c:v>1.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7,0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6,2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2,9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47014</c:v>
                </c:pt>
                <c:pt idx="1">
                  <c:v>132169</c:v>
                </c:pt>
                <c:pt idx="2">
                  <c:v>122188</c:v>
                </c:pt>
                <c:pt idx="3">
                  <c:v>164016</c:v>
                </c:pt>
                <c:pt idx="4">
                  <c:v>132412</c:v>
                </c:pt>
                <c:pt idx="5">
                  <c:v>119461</c:v>
                </c:pt>
                <c:pt idx="6">
                  <c:v>126248</c:v>
                </c:pt>
                <c:pt idx="7">
                  <c:v>160451</c:v>
                </c:pt>
                <c:pt idx="8">
                  <c:v>155597</c:v>
                </c:pt>
                <c:pt idx="9">
                  <c:v>158023</c:v>
                </c:pt>
                <c:pt idx="10">
                  <c:v>175966</c:v>
                </c:pt>
                <c:pt idx="11">
                  <c:v>210031</c:v>
                </c:pt>
                <c:pt idx="12">
                  <c:v>176190</c:v>
                </c:pt>
                <c:pt idx="13">
                  <c:v>156236</c:v>
                </c:pt>
                <c:pt idx="14">
                  <c:v>125051</c:v>
                </c:pt>
                <c:pt idx="15">
                  <c:v>95796</c:v>
                </c:pt>
                <c:pt idx="16">
                  <c:v>94527</c:v>
                </c:pt>
                <c:pt idx="17">
                  <c:v>110592</c:v>
                </c:pt>
                <c:pt idx="18">
                  <c:v>119913</c:v>
                </c:pt>
                <c:pt idx="19">
                  <c:v>126218</c:v>
                </c:pt>
                <c:pt idx="20">
                  <c:v>170233</c:v>
                </c:pt>
                <c:pt idx="21">
                  <c:v>145825</c:v>
                </c:pt>
                <c:pt idx="22">
                  <c:v>164848</c:v>
                </c:pt>
                <c:pt idx="23">
                  <c:v>147860</c:v>
                </c:pt>
                <c:pt idx="24">
                  <c:v>10293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49</c:v>
                </c:pt>
                <c:pt idx="1">
                  <c:v>3.39</c:v>
                </c:pt>
                <c:pt idx="2">
                  <c:v>3.4</c:v>
                </c:pt>
                <c:pt idx="3">
                  <c:v>3.3</c:v>
                </c:pt>
                <c:pt idx="4">
                  <c:v>3.44</c:v>
                </c:pt>
                <c:pt idx="5">
                  <c:v>3.46</c:v>
                </c:pt>
                <c:pt idx="6">
                  <c:v>3.31</c:v>
                </c:pt>
                <c:pt idx="7">
                  <c:v>3.03</c:v>
                </c:pt>
                <c:pt idx="8">
                  <c:v>3.03</c:v>
                </c:pt>
                <c:pt idx="9">
                  <c:v>3.1</c:v>
                </c:pt>
                <c:pt idx="10">
                  <c:v>3.01</c:v>
                </c:pt>
                <c:pt idx="11">
                  <c:v>2.99</c:v>
                </c:pt>
                <c:pt idx="12">
                  <c:v>3.03</c:v>
                </c:pt>
                <c:pt idx="13">
                  <c:v>3.18</c:v>
                </c:pt>
                <c:pt idx="14">
                  <c:v>3.13</c:v>
                </c:pt>
                <c:pt idx="15">
                  <c:v>3.28</c:v>
                </c:pt>
                <c:pt idx="16">
                  <c:v>3.3</c:v>
                </c:pt>
                <c:pt idx="17">
                  <c:v>3.16</c:v>
                </c:pt>
                <c:pt idx="18">
                  <c:v>3.01</c:v>
                </c:pt>
                <c:pt idx="19">
                  <c:v>2.92</c:v>
                </c:pt>
                <c:pt idx="20">
                  <c:v>3.33</c:v>
                </c:pt>
                <c:pt idx="21">
                  <c:v>3.14</c:v>
                </c:pt>
                <c:pt idx="22">
                  <c:v>3.33</c:v>
                </c:pt>
                <c:pt idx="23">
                  <c:v>3.63</c:v>
                </c:pt>
                <c:pt idx="24">
                  <c:v>3.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43,1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89,4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27,1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43114</c:v>
                </c:pt>
                <c:pt idx="1">
                  <c:v>4672283</c:v>
                </c:pt>
                <c:pt idx="2">
                  <c:v>4909863</c:v>
                </c:pt>
                <c:pt idx="3">
                  <c:v>4600843</c:v>
                </c:pt>
                <c:pt idx="4">
                  <c:v>5274528</c:v>
                </c:pt>
                <c:pt idx="5">
                  <c:v>5411885</c:v>
                </c:pt>
                <c:pt idx="6">
                  <c:v>5303101</c:v>
                </c:pt>
                <c:pt idx="7">
                  <c:v>5184582</c:v>
                </c:pt>
                <c:pt idx="8">
                  <c:v>5110464</c:v>
                </c:pt>
                <c:pt idx="9">
                  <c:v>5636520</c:v>
                </c:pt>
                <c:pt idx="10">
                  <c:v>6088499</c:v>
                </c:pt>
                <c:pt idx="11">
                  <c:v>7171622</c:v>
                </c:pt>
                <c:pt idx="12">
                  <c:v>6064543</c:v>
                </c:pt>
                <c:pt idx="13">
                  <c:v>5489429</c:v>
                </c:pt>
                <c:pt idx="14">
                  <c:v>5706484</c:v>
                </c:pt>
                <c:pt idx="15">
                  <c:v>5400073</c:v>
                </c:pt>
                <c:pt idx="16">
                  <c:v>5400035</c:v>
                </c:pt>
                <c:pt idx="17">
                  <c:v>5396753</c:v>
                </c:pt>
                <c:pt idx="18">
                  <c:v>5538922</c:v>
                </c:pt>
                <c:pt idx="19">
                  <c:v>6808555</c:v>
                </c:pt>
                <c:pt idx="20">
                  <c:v>6913296</c:v>
                </c:pt>
                <c:pt idx="21">
                  <c:v>7244207</c:v>
                </c:pt>
                <c:pt idx="22">
                  <c:v>7495740</c:v>
                </c:pt>
                <c:pt idx="23">
                  <c:v>8983875</c:v>
                </c:pt>
                <c:pt idx="24">
                  <c:v>772711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1</c:v>
                </c:pt>
                <c:pt idx="1">
                  <c:v>2.31</c:v>
                </c:pt>
                <c:pt idx="2">
                  <c:v>2.18</c:v>
                </c:pt>
                <c:pt idx="3">
                  <c:v>2.13</c:v>
                </c:pt>
                <c:pt idx="4">
                  <c:v>2.37</c:v>
                </c:pt>
                <c:pt idx="5">
                  <c:v>2.5</c:v>
                </c:pt>
                <c:pt idx="6">
                  <c:v>2.13</c:v>
                </c:pt>
                <c:pt idx="7">
                  <c:v>2.39</c:v>
                </c:pt>
                <c:pt idx="8">
                  <c:v>2.41</c:v>
                </c:pt>
                <c:pt idx="9">
                  <c:v>2.2</c:v>
                </c:pt>
                <c:pt idx="10">
                  <c:v>2.33</c:v>
                </c:pt>
                <c:pt idx="11">
                  <c:v>2.2</c:v>
                </c:pt>
                <c:pt idx="12">
                  <c:v>2.39</c:v>
                </c:pt>
                <c:pt idx="13">
                  <c:v>2.32</c:v>
                </c:pt>
                <c:pt idx="14">
                  <c:v>2.22</c:v>
                </c:pt>
                <c:pt idx="15">
                  <c:v>2.13</c:v>
                </c:pt>
                <c:pt idx="16">
                  <c:v>2.2</c:v>
                </c:pt>
                <c:pt idx="17">
                  <c:v>2.19</c:v>
                </c:pt>
                <c:pt idx="18">
                  <c:v>2.2</c:v>
                </c:pt>
                <c:pt idx="19">
                  <c:v>2.12</c:v>
                </c:pt>
                <c:pt idx="20">
                  <c:v>2.26</c:v>
                </c:pt>
                <c:pt idx="21">
                  <c:v>2.3</c:v>
                </c:pt>
                <c:pt idx="22">
                  <c:v>2.25</c:v>
                </c:pt>
                <c:pt idx="23">
                  <c:v>2.12</c:v>
                </c:pt>
                <c:pt idx="24">
                  <c:v>2.2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14,0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21,8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44,3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14091</c:v>
                </c:pt>
                <c:pt idx="1">
                  <c:v>1347889</c:v>
                </c:pt>
                <c:pt idx="2">
                  <c:v>1345752</c:v>
                </c:pt>
                <c:pt idx="3">
                  <c:v>1319423</c:v>
                </c:pt>
                <c:pt idx="4">
                  <c:v>1275454</c:v>
                </c:pt>
                <c:pt idx="5">
                  <c:v>1305872</c:v>
                </c:pt>
                <c:pt idx="6">
                  <c:v>1197110</c:v>
                </c:pt>
                <c:pt idx="7">
                  <c:v>1447108</c:v>
                </c:pt>
                <c:pt idx="8">
                  <c:v>1414553</c:v>
                </c:pt>
                <c:pt idx="9">
                  <c:v>1562051</c:v>
                </c:pt>
                <c:pt idx="10">
                  <c:v>1582004</c:v>
                </c:pt>
                <c:pt idx="11">
                  <c:v>1832118</c:v>
                </c:pt>
                <c:pt idx="12">
                  <c:v>1585619</c:v>
                </c:pt>
                <c:pt idx="13">
                  <c:v>1521825</c:v>
                </c:pt>
                <c:pt idx="14">
                  <c:v>1530042</c:v>
                </c:pt>
                <c:pt idx="15">
                  <c:v>1529189</c:v>
                </c:pt>
                <c:pt idx="16">
                  <c:v>1451724</c:v>
                </c:pt>
                <c:pt idx="17">
                  <c:v>1457848</c:v>
                </c:pt>
                <c:pt idx="18">
                  <c:v>1456070</c:v>
                </c:pt>
                <c:pt idx="19">
                  <c:v>1739176</c:v>
                </c:pt>
                <c:pt idx="20">
                  <c:v>1742713</c:v>
                </c:pt>
                <c:pt idx="21">
                  <c:v>1910794</c:v>
                </c:pt>
                <c:pt idx="22">
                  <c:v>2023164</c:v>
                </c:pt>
                <c:pt idx="23">
                  <c:v>2283861</c:v>
                </c:pt>
                <c:pt idx="24">
                  <c:v>194437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7</c:v>
                </c:pt>
                <c:pt idx="1">
                  <c:v>2.66</c:v>
                </c:pt>
                <c:pt idx="2">
                  <c:v>2.69</c:v>
                </c:pt>
                <c:pt idx="3">
                  <c:v>2.64</c:v>
                </c:pt>
                <c:pt idx="4">
                  <c:v>2.64</c:v>
                </c:pt>
                <c:pt idx="5">
                  <c:v>2.6</c:v>
                </c:pt>
                <c:pt idx="6">
                  <c:v>2.63</c:v>
                </c:pt>
                <c:pt idx="7">
                  <c:v>2.57</c:v>
                </c:pt>
                <c:pt idx="8">
                  <c:v>2.56</c:v>
                </c:pt>
                <c:pt idx="9">
                  <c:v>2.58</c:v>
                </c:pt>
                <c:pt idx="10">
                  <c:v>2.63</c:v>
                </c:pt>
                <c:pt idx="11">
                  <c:v>2.64</c:v>
                </c:pt>
                <c:pt idx="12">
                  <c:v>2.68</c:v>
                </c:pt>
                <c:pt idx="13">
                  <c:v>2.66</c:v>
                </c:pt>
                <c:pt idx="14">
                  <c:v>2.56</c:v>
                </c:pt>
                <c:pt idx="15">
                  <c:v>2.55</c:v>
                </c:pt>
                <c:pt idx="16">
                  <c:v>2.51</c:v>
                </c:pt>
                <c:pt idx="17">
                  <c:v>2.5</c:v>
                </c:pt>
                <c:pt idx="18">
                  <c:v>2.51</c:v>
                </c:pt>
                <c:pt idx="19">
                  <c:v>2.64</c:v>
                </c:pt>
                <c:pt idx="20">
                  <c:v>2.62</c:v>
                </c:pt>
                <c:pt idx="21">
                  <c:v>2.6</c:v>
                </c:pt>
                <c:pt idx="22">
                  <c:v>2.58</c:v>
                </c:pt>
                <c:pt idx="23">
                  <c:v>2.58</c:v>
                </c:pt>
                <c:pt idx="24">
                  <c:v>2.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43,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414,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763,3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43686</c:v>
                </c:pt>
                <c:pt idx="1">
                  <c:v>4267598</c:v>
                </c:pt>
                <c:pt idx="2">
                  <c:v>4162407</c:v>
                </c:pt>
                <c:pt idx="3">
                  <c:v>3701814</c:v>
                </c:pt>
                <c:pt idx="4">
                  <c:v>4383956</c:v>
                </c:pt>
                <c:pt idx="5">
                  <c:v>3801307</c:v>
                </c:pt>
                <c:pt idx="6">
                  <c:v>4059354</c:v>
                </c:pt>
                <c:pt idx="7">
                  <c:v>5363694</c:v>
                </c:pt>
                <c:pt idx="8">
                  <c:v>4835409</c:v>
                </c:pt>
                <c:pt idx="9">
                  <c:v>5899862</c:v>
                </c:pt>
                <c:pt idx="10">
                  <c:v>6030279</c:v>
                </c:pt>
                <c:pt idx="11">
                  <c:v>5629931</c:v>
                </c:pt>
                <c:pt idx="12">
                  <c:v>5082096</c:v>
                </c:pt>
                <c:pt idx="13">
                  <c:v>4414402</c:v>
                </c:pt>
                <c:pt idx="14">
                  <c:v>4199212</c:v>
                </c:pt>
                <c:pt idx="15">
                  <c:v>3759828</c:v>
                </c:pt>
                <c:pt idx="16">
                  <c:v>4303459</c:v>
                </c:pt>
                <c:pt idx="17">
                  <c:v>3502173</c:v>
                </c:pt>
                <c:pt idx="18">
                  <c:v>3524461</c:v>
                </c:pt>
                <c:pt idx="19">
                  <c:v>4065347</c:v>
                </c:pt>
                <c:pt idx="20">
                  <c:v>4533678</c:v>
                </c:pt>
                <c:pt idx="21">
                  <c:v>4834497</c:v>
                </c:pt>
                <c:pt idx="22">
                  <c:v>5227591</c:v>
                </c:pt>
                <c:pt idx="23">
                  <c:v>5420971</c:v>
                </c:pt>
                <c:pt idx="24">
                  <c:v>57633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6</c:v>
                </c:pt>
                <c:pt idx="1">
                  <c:v>3.81</c:v>
                </c:pt>
                <c:pt idx="2">
                  <c:v>3.56</c:v>
                </c:pt>
                <c:pt idx="3">
                  <c:v>3.44</c:v>
                </c:pt>
                <c:pt idx="4">
                  <c:v>3.9</c:v>
                </c:pt>
                <c:pt idx="5">
                  <c:v>3.7</c:v>
                </c:pt>
                <c:pt idx="6">
                  <c:v>3.41</c:v>
                </c:pt>
                <c:pt idx="7">
                  <c:v>3.83</c:v>
                </c:pt>
                <c:pt idx="8">
                  <c:v>3.85</c:v>
                </c:pt>
                <c:pt idx="9">
                  <c:v>4.02</c:v>
                </c:pt>
                <c:pt idx="10">
                  <c:v>3.83</c:v>
                </c:pt>
                <c:pt idx="11">
                  <c:v>3.99</c:v>
                </c:pt>
                <c:pt idx="12">
                  <c:v>4.11</c:v>
                </c:pt>
                <c:pt idx="13">
                  <c:v>4.27</c:v>
                </c:pt>
                <c:pt idx="14">
                  <c:v>3.74</c:v>
                </c:pt>
                <c:pt idx="15">
                  <c:v>3.92</c:v>
                </c:pt>
                <c:pt idx="16">
                  <c:v>3.98</c:v>
                </c:pt>
                <c:pt idx="17">
                  <c:v>4.09</c:v>
                </c:pt>
                <c:pt idx="18">
                  <c:v>3.94</c:v>
                </c:pt>
                <c:pt idx="19">
                  <c:v>3.97</c:v>
                </c:pt>
                <c:pt idx="20">
                  <c:v>3.73</c:v>
                </c:pt>
                <c:pt idx="21">
                  <c:v>3.74</c:v>
                </c:pt>
                <c:pt idx="22">
                  <c:v>3.83</c:v>
                </c:pt>
                <c:pt idx="23">
                  <c:v>3.83</c:v>
                </c:pt>
                <c:pt idx="24">
                  <c:v>3.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94,4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74,7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42,9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94496</c:v>
                </c:pt>
                <c:pt idx="1">
                  <c:v>1341272</c:v>
                </c:pt>
                <c:pt idx="2">
                  <c:v>1345815</c:v>
                </c:pt>
                <c:pt idx="3">
                  <c:v>1134713</c:v>
                </c:pt>
                <c:pt idx="4">
                  <c:v>1301683</c:v>
                </c:pt>
                <c:pt idx="5">
                  <c:v>1147637</c:v>
                </c:pt>
                <c:pt idx="6">
                  <c:v>1249932</c:v>
                </c:pt>
                <c:pt idx="7">
                  <c:v>1815758</c:v>
                </c:pt>
                <c:pt idx="8">
                  <c:v>1607058</c:v>
                </c:pt>
                <c:pt idx="9">
                  <c:v>1821467</c:v>
                </c:pt>
                <c:pt idx="10">
                  <c:v>1886200</c:v>
                </c:pt>
                <c:pt idx="11">
                  <c:v>1887946</c:v>
                </c:pt>
                <c:pt idx="12">
                  <c:v>1629623</c:v>
                </c:pt>
                <c:pt idx="13">
                  <c:v>1374710</c:v>
                </c:pt>
                <c:pt idx="14">
                  <c:v>1349345</c:v>
                </c:pt>
                <c:pt idx="15">
                  <c:v>1239917</c:v>
                </c:pt>
                <c:pt idx="16">
                  <c:v>1439539</c:v>
                </c:pt>
                <c:pt idx="17">
                  <c:v>1192784</c:v>
                </c:pt>
                <c:pt idx="18">
                  <c:v>1293560</c:v>
                </c:pt>
                <c:pt idx="19">
                  <c:v>1512087</c:v>
                </c:pt>
                <c:pt idx="20">
                  <c:v>1679346</c:v>
                </c:pt>
                <c:pt idx="21">
                  <c:v>1829037</c:v>
                </c:pt>
                <c:pt idx="22">
                  <c:v>2011242</c:v>
                </c:pt>
                <c:pt idx="23">
                  <c:v>2238078</c:v>
                </c:pt>
                <c:pt idx="24">
                  <c:v>24429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1</c:v>
                </c:pt>
                <c:pt idx="1">
                  <c:v>3.65</c:v>
                </c:pt>
                <c:pt idx="2">
                  <c:v>3.46</c:v>
                </c:pt>
                <c:pt idx="3">
                  <c:v>3.37</c:v>
                </c:pt>
                <c:pt idx="4">
                  <c:v>3.57</c:v>
                </c:pt>
                <c:pt idx="5">
                  <c:v>3.62</c:v>
                </c:pt>
                <c:pt idx="6">
                  <c:v>3.22</c:v>
                </c:pt>
                <c:pt idx="7">
                  <c:v>3.51</c:v>
                </c:pt>
                <c:pt idx="8">
                  <c:v>3.43</c:v>
                </c:pt>
                <c:pt idx="9">
                  <c:v>3.17</c:v>
                </c:pt>
                <c:pt idx="10">
                  <c:v>3.35</c:v>
                </c:pt>
                <c:pt idx="11">
                  <c:v>3.57</c:v>
                </c:pt>
                <c:pt idx="12">
                  <c:v>3.62</c:v>
                </c:pt>
                <c:pt idx="13">
                  <c:v>3.77</c:v>
                </c:pt>
                <c:pt idx="14">
                  <c:v>3.58</c:v>
                </c:pt>
                <c:pt idx="15">
                  <c:v>3.28</c:v>
                </c:pt>
                <c:pt idx="16">
                  <c:v>3.64</c:v>
                </c:pt>
                <c:pt idx="17">
                  <c:v>3.5</c:v>
                </c:pt>
                <c:pt idx="18">
                  <c:v>3.43</c:v>
                </c:pt>
                <c:pt idx="19">
                  <c:v>3.65</c:v>
                </c:pt>
                <c:pt idx="20">
                  <c:v>3.05</c:v>
                </c:pt>
                <c:pt idx="21">
                  <c:v>3.13</c:v>
                </c:pt>
                <c:pt idx="22">
                  <c:v>3.44</c:v>
                </c:pt>
                <c:pt idx="23">
                  <c:v>3.45</c:v>
                </c:pt>
                <c:pt idx="24">
                  <c:v>2.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8,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8,0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70,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48146</c:v>
                </c:pt>
                <c:pt idx="1">
                  <c:v>750159</c:v>
                </c:pt>
                <c:pt idx="2">
                  <c:v>711335</c:v>
                </c:pt>
                <c:pt idx="3">
                  <c:v>631833</c:v>
                </c:pt>
                <c:pt idx="4">
                  <c:v>743166</c:v>
                </c:pt>
                <c:pt idx="5">
                  <c:v>654822</c:v>
                </c:pt>
                <c:pt idx="6">
                  <c:v>654326</c:v>
                </c:pt>
                <c:pt idx="7">
                  <c:v>783323</c:v>
                </c:pt>
                <c:pt idx="8">
                  <c:v>735544</c:v>
                </c:pt>
                <c:pt idx="9">
                  <c:v>789551</c:v>
                </c:pt>
                <c:pt idx="10">
                  <c:v>789927</c:v>
                </c:pt>
                <c:pt idx="11">
                  <c:v>800558</c:v>
                </c:pt>
                <c:pt idx="12">
                  <c:v>759647</c:v>
                </c:pt>
                <c:pt idx="13">
                  <c:v>638088</c:v>
                </c:pt>
                <c:pt idx="14">
                  <c:v>614793</c:v>
                </c:pt>
                <c:pt idx="15">
                  <c:v>520352</c:v>
                </c:pt>
                <c:pt idx="16">
                  <c:v>616313</c:v>
                </c:pt>
                <c:pt idx="17">
                  <c:v>471707</c:v>
                </c:pt>
                <c:pt idx="18">
                  <c:v>488790</c:v>
                </c:pt>
                <c:pt idx="19">
                  <c:v>568542</c:v>
                </c:pt>
                <c:pt idx="20">
                  <c:v>517472</c:v>
                </c:pt>
                <c:pt idx="21">
                  <c:v>559625</c:v>
                </c:pt>
                <c:pt idx="22">
                  <c:v>600457</c:v>
                </c:pt>
                <c:pt idx="23">
                  <c:v>618819</c:v>
                </c:pt>
                <c:pt idx="24">
                  <c:v>5705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35</c:v>
                </c:pt>
                <c:pt idx="1">
                  <c:v>4.34</c:v>
                </c:pt>
                <c:pt idx="2">
                  <c:v>4.32</c:v>
                </c:pt>
                <c:pt idx="3">
                  <c:v>4.32</c:v>
                </c:pt>
                <c:pt idx="4">
                  <c:v>4.32</c:v>
                </c:pt>
                <c:pt idx="5">
                  <c:v>4.22</c:v>
                </c:pt>
                <c:pt idx="6">
                  <c:v>4.44</c:v>
                </c:pt>
                <c:pt idx="7">
                  <c:v>4.59</c:v>
                </c:pt>
                <c:pt idx="8">
                  <c:v>4.7</c:v>
                </c:pt>
                <c:pt idx="9">
                  <c:v>4.76</c:v>
                </c:pt>
                <c:pt idx="10">
                  <c:v>4.67</c:v>
                </c:pt>
                <c:pt idx="11">
                  <c:v>4.68</c:v>
                </c:pt>
                <c:pt idx="12">
                  <c:v>4.62</c:v>
                </c:pt>
                <c:pt idx="13">
                  <c:v>4.65</c:v>
                </c:pt>
                <c:pt idx="14">
                  <c:v>4.63</c:v>
                </c:pt>
                <c:pt idx="15">
                  <c:v>4.63</c:v>
                </c:pt>
                <c:pt idx="16">
                  <c:v>4.66</c:v>
                </c:pt>
                <c:pt idx="17">
                  <c:v>4.64</c:v>
                </c:pt>
                <c:pt idx="18">
                  <c:v>4.58</c:v>
                </c:pt>
                <c:pt idx="19">
                  <c:v>4.56</c:v>
                </c:pt>
                <c:pt idx="20">
                  <c:v>4.56</c:v>
                </c:pt>
                <c:pt idx="21">
                  <c:v>4.57</c:v>
                </c:pt>
                <c:pt idx="22">
                  <c:v>4.58</c:v>
                </c:pt>
                <c:pt idx="23">
                  <c:v>4.58</c:v>
                </c:pt>
                <c:pt idx="24">
                  <c:v>4.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820,3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485,0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636,7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820393</c:v>
                </c:pt>
                <c:pt idx="1">
                  <c:v>19939812</c:v>
                </c:pt>
                <c:pt idx="2">
                  <c:v>19748780</c:v>
                </c:pt>
                <c:pt idx="3">
                  <c:v>18111016</c:v>
                </c:pt>
                <c:pt idx="4">
                  <c:v>21116744</c:v>
                </c:pt>
                <c:pt idx="5">
                  <c:v>17664245</c:v>
                </c:pt>
                <c:pt idx="6">
                  <c:v>17250932</c:v>
                </c:pt>
                <c:pt idx="7">
                  <c:v>20016411</c:v>
                </c:pt>
                <c:pt idx="8">
                  <c:v>19949471</c:v>
                </c:pt>
                <c:pt idx="9">
                  <c:v>22234035</c:v>
                </c:pt>
                <c:pt idx="10">
                  <c:v>23429223</c:v>
                </c:pt>
                <c:pt idx="11">
                  <c:v>24560139</c:v>
                </c:pt>
                <c:pt idx="12">
                  <c:v>23781560</c:v>
                </c:pt>
                <c:pt idx="13">
                  <c:v>19485000</c:v>
                </c:pt>
                <c:pt idx="14">
                  <c:v>19150300</c:v>
                </c:pt>
                <c:pt idx="15">
                  <c:v>17815163</c:v>
                </c:pt>
                <c:pt idx="16">
                  <c:v>20907709</c:v>
                </c:pt>
                <c:pt idx="17">
                  <c:v>17418184</c:v>
                </c:pt>
                <c:pt idx="18">
                  <c:v>18603298</c:v>
                </c:pt>
                <c:pt idx="19">
                  <c:v>21126968</c:v>
                </c:pt>
                <c:pt idx="20">
                  <c:v>20299878</c:v>
                </c:pt>
                <c:pt idx="21">
                  <c:v>22319087</c:v>
                </c:pt>
                <c:pt idx="22">
                  <c:v>24277055</c:v>
                </c:pt>
                <c:pt idx="23">
                  <c:v>24306404</c:v>
                </c:pt>
                <c:pt idx="24">
                  <c:v>236367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3</c:v>
                </c:pt>
                <c:pt idx="1">
                  <c:v>1.39</c:v>
                </c:pt>
                <c:pt idx="2">
                  <c:v>1.36</c:v>
                </c:pt>
                <c:pt idx="3">
                  <c:v>1.34</c:v>
                </c:pt>
                <c:pt idx="4">
                  <c:v>1.36</c:v>
                </c:pt>
                <c:pt idx="5">
                  <c:v>1.35</c:v>
                </c:pt>
                <c:pt idx="6">
                  <c:v>1.38</c:v>
                </c:pt>
                <c:pt idx="7">
                  <c:v>1.41</c:v>
                </c:pt>
                <c:pt idx="8">
                  <c:v>1.43</c:v>
                </c:pt>
                <c:pt idx="9">
                  <c:v>1.45</c:v>
                </c:pt>
                <c:pt idx="10">
                  <c:v>1.46</c:v>
                </c:pt>
                <c:pt idx="11">
                  <c:v>1.47</c:v>
                </c:pt>
                <c:pt idx="12">
                  <c:v>1.47</c:v>
                </c:pt>
                <c:pt idx="13">
                  <c:v>1.44</c:v>
                </c:pt>
                <c:pt idx="14">
                  <c:v>1.39</c:v>
                </c:pt>
                <c:pt idx="15">
                  <c:v>1.38</c:v>
                </c:pt>
                <c:pt idx="16">
                  <c:v>1.41</c:v>
                </c:pt>
                <c:pt idx="17">
                  <c:v>1.37</c:v>
                </c:pt>
                <c:pt idx="18">
                  <c:v>1.41</c:v>
                </c:pt>
                <c:pt idx="19">
                  <c:v>1.44</c:v>
                </c:pt>
                <c:pt idx="20">
                  <c:v>1.43</c:v>
                </c:pt>
                <c:pt idx="21">
                  <c:v>1.44</c:v>
                </c:pt>
                <c:pt idx="22">
                  <c:v>1.47</c:v>
                </c:pt>
                <c:pt idx="23">
                  <c:v>1.46</c:v>
                </c:pt>
                <c:pt idx="24">
                  <c:v>1.4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41,5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86,6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48,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841581</c:v>
                </c:pt>
                <c:pt idx="1">
                  <c:v>2511499</c:v>
                </c:pt>
                <c:pt idx="2">
                  <c:v>3065746</c:v>
                </c:pt>
                <c:pt idx="3">
                  <c:v>3720931</c:v>
                </c:pt>
                <c:pt idx="4">
                  <c:v>4277309</c:v>
                </c:pt>
                <c:pt idx="5">
                  <c:v>2493949</c:v>
                </c:pt>
                <c:pt idx="6">
                  <c:v>2370384</c:v>
                </c:pt>
                <c:pt idx="7">
                  <c:v>2875853</c:v>
                </c:pt>
                <c:pt idx="8">
                  <c:v>2702516</c:v>
                </c:pt>
                <c:pt idx="9">
                  <c:v>2716016</c:v>
                </c:pt>
                <c:pt idx="10">
                  <c:v>2711701</c:v>
                </c:pt>
                <c:pt idx="11">
                  <c:v>2859107</c:v>
                </c:pt>
                <c:pt idx="12">
                  <c:v>2970608</c:v>
                </c:pt>
                <c:pt idx="13">
                  <c:v>2686625</c:v>
                </c:pt>
                <c:pt idx="14">
                  <c:v>3111381</c:v>
                </c:pt>
                <c:pt idx="15">
                  <c:v>4142427</c:v>
                </c:pt>
                <c:pt idx="16">
                  <c:v>8125817</c:v>
                </c:pt>
                <c:pt idx="17">
                  <c:v>2724561</c:v>
                </c:pt>
                <c:pt idx="18">
                  <c:v>2606894</c:v>
                </c:pt>
                <c:pt idx="19">
                  <c:v>2787967</c:v>
                </c:pt>
                <c:pt idx="20">
                  <c:v>2622906</c:v>
                </c:pt>
                <c:pt idx="21">
                  <c:v>2796298</c:v>
                </c:pt>
                <c:pt idx="22">
                  <c:v>2830510</c:v>
                </c:pt>
                <c:pt idx="23">
                  <c:v>2912049</c:v>
                </c:pt>
                <c:pt idx="24">
                  <c:v>28481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8</c:v>
                </c:pt>
                <c:pt idx="1">
                  <c:v>1.86</c:v>
                </c:pt>
                <c:pt idx="2">
                  <c:v>1.79</c:v>
                </c:pt>
                <c:pt idx="3">
                  <c:v>1.77</c:v>
                </c:pt>
                <c:pt idx="4">
                  <c:v>1.77</c:v>
                </c:pt>
                <c:pt idx="5">
                  <c:v>1.82</c:v>
                </c:pt>
                <c:pt idx="6">
                  <c:v>1.9</c:v>
                </c:pt>
                <c:pt idx="7">
                  <c:v>1.93</c:v>
                </c:pt>
                <c:pt idx="8">
                  <c:v>1.95</c:v>
                </c:pt>
                <c:pt idx="9">
                  <c:v>1.95</c:v>
                </c:pt>
                <c:pt idx="10">
                  <c:v>1.96</c:v>
                </c:pt>
                <c:pt idx="11">
                  <c:v>1.93</c:v>
                </c:pt>
                <c:pt idx="12">
                  <c:v>1.91</c:v>
                </c:pt>
                <c:pt idx="13">
                  <c:v>1.9</c:v>
                </c:pt>
                <c:pt idx="14">
                  <c:v>1.98</c:v>
                </c:pt>
                <c:pt idx="15">
                  <c:v>2.26</c:v>
                </c:pt>
                <c:pt idx="16">
                  <c:v>2.43</c:v>
                </c:pt>
                <c:pt idx="17">
                  <c:v>1.85</c:v>
                </c:pt>
                <c:pt idx="18">
                  <c:v>1.88</c:v>
                </c:pt>
                <c:pt idx="19">
                  <c:v>1.91</c:v>
                </c:pt>
                <c:pt idx="20">
                  <c:v>1.9</c:v>
                </c:pt>
                <c:pt idx="21">
                  <c:v>1.91</c:v>
                </c:pt>
                <c:pt idx="22">
                  <c:v>1.94</c:v>
                </c:pt>
                <c:pt idx="23">
                  <c:v>1.91</c:v>
                </c:pt>
                <c:pt idx="24">
                  <c:v>1.8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47,5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597,7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27,9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47542</c:v>
                </c:pt>
                <c:pt idx="1">
                  <c:v>6876798</c:v>
                </c:pt>
                <c:pt idx="2">
                  <c:v>6556170</c:v>
                </c:pt>
                <c:pt idx="3">
                  <c:v>6169685</c:v>
                </c:pt>
                <c:pt idx="4">
                  <c:v>7824603</c:v>
                </c:pt>
                <c:pt idx="5">
                  <c:v>5819780</c:v>
                </c:pt>
                <c:pt idx="6">
                  <c:v>5829375</c:v>
                </c:pt>
                <c:pt idx="7">
                  <c:v>6890061</c:v>
                </c:pt>
                <c:pt idx="8">
                  <c:v>6829720</c:v>
                </c:pt>
                <c:pt idx="9">
                  <c:v>7697647</c:v>
                </c:pt>
                <c:pt idx="10">
                  <c:v>8161523</c:v>
                </c:pt>
                <c:pt idx="11">
                  <c:v>8324469</c:v>
                </c:pt>
                <c:pt idx="12">
                  <c:v>7745244</c:v>
                </c:pt>
                <c:pt idx="13">
                  <c:v>6597715</c:v>
                </c:pt>
                <c:pt idx="14">
                  <c:v>6501271</c:v>
                </c:pt>
                <c:pt idx="15">
                  <c:v>6187369</c:v>
                </c:pt>
                <c:pt idx="16">
                  <c:v>7833966</c:v>
                </c:pt>
                <c:pt idx="17">
                  <c:v>5789781</c:v>
                </c:pt>
                <c:pt idx="18">
                  <c:v>5725613</c:v>
                </c:pt>
                <c:pt idx="19">
                  <c:v>6662418</c:v>
                </c:pt>
                <c:pt idx="20">
                  <c:v>6466034</c:v>
                </c:pt>
                <c:pt idx="21">
                  <c:v>7297811</c:v>
                </c:pt>
                <c:pt idx="22">
                  <c:v>7911214</c:v>
                </c:pt>
                <c:pt idx="23">
                  <c:v>8317329</c:v>
                </c:pt>
                <c:pt idx="24">
                  <c:v>77279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c:v>
                </c:pt>
                <c:pt idx="1">
                  <c:v>2.27</c:v>
                </c:pt>
                <c:pt idx="2">
                  <c:v>2.26</c:v>
                </c:pt>
                <c:pt idx="3">
                  <c:v>2.17</c:v>
                </c:pt>
                <c:pt idx="4">
                  <c:v>2.07</c:v>
                </c:pt>
                <c:pt idx="5">
                  <c:v>2.3</c:v>
                </c:pt>
                <c:pt idx="6">
                  <c:v>2.47</c:v>
                </c:pt>
                <c:pt idx="7">
                  <c:v>2.53</c:v>
                </c:pt>
                <c:pt idx="8">
                  <c:v>2.55</c:v>
                </c:pt>
                <c:pt idx="9">
                  <c:v>2.59</c:v>
                </c:pt>
                <c:pt idx="10">
                  <c:v>2.56</c:v>
                </c:pt>
                <c:pt idx="11">
                  <c:v>2.58</c:v>
                </c:pt>
                <c:pt idx="12">
                  <c:v>2.58</c:v>
                </c:pt>
                <c:pt idx="13">
                  <c:v>2.58</c:v>
                </c:pt>
                <c:pt idx="14">
                  <c:v>2.5</c:v>
                </c:pt>
                <c:pt idx="15">
                  <c:v>2.37</c:v>
                </c:pt>
                <c:pt idx="16">
                  <c:v>2.22</c:v>
                </c:pt>
                <c:pt idx="17">
                  <c:v>2.43</c:v>
                </c:pt>
                <c:pt idx="18">
                  <c:v>2.49</c:v>
                </c:pt>
                <c:pt idx="19">
                  <c:v>2.53</c:v>
                </c:pt>
                <c:pt idx="20">
                  <c:v>2.49</c:v>
                </c:pt>
                <c:pt idx="21">
                  <c:v>2.49</c:v>
                </c:pt>
                <c:pt idx="22">
                  <c:v>2.51</c:v>
                </c:pt>
                <c:pt idx="23">
                  <c:v>2.49</c:v>
                </c:pt>
                <c:pt idx="24">
                  <c:v>2.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2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5,5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6,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6276</c:v>
                </c:pt>
                <c:pt idx="1">
                  <c:v>54960</c:v>
                </c:pt>
                <c:pt idx="2">
                  <c:v>56941</c:v>
                </c:pt>
                <c:pt idx="3">
                  <c:v>67055</c:v>
                </c:pt>
                <c:pt idx="4">
                  <c:v>49239</c:v>
                </c:pt>
                <c:pt idx="5">
                  <c:v>50626</c:v>
                </c:pt>
                <c:pt idx="6">
                  <c:v>36981</c:v>
                </c:pt>
                <c:pt idx="7">
                  <c:v>45920</c:v>
                </c:pt>
                <c:pt idx="8">
                  <c:v>54628</c:v>
                </c:pt>
                <c:pt idx="9">
                  <c:v>54648</c:v>
                </c:pt>
                <c:pt idx="10">
                  <c:v>57149</c:v>
                </c:pt>
                <c:pt idx="11">
                  <c:v>62965</c:v>
                </c:pt>
                <c:pt idx="12">
                  <c:v>66551</c:v>
                </c:pt>
                <c:pt idx="13">
                  <c:v>75594</c:v>
                </c:pt>
                <c:pt idx="14">
                  <c:v>40610</c:v>
                </c:pt>
                <c:pt idx="15">
                  <c:v>35815</c:v>
                </c:pt>
                <c:pt idx="16">
                  <c:v>38013</c:v>
                </c:pt>
                <c:pt idx="17">
                  <c:v>39440</c:v>
                </c:pt>
                <c:pt idx="18">
                  <c:v>40943</c:v>
                </c:pt>
                <c:pt idx="19">
                  <c:v>45665</c:v>
                </c:pt>
                <c:pt idx="20">
                  <c:v>113429</c:v>
                </c:pt>
                <c:pt idx="21">
                  <c:v>88637</c:v>
                </c:pt>
                <c:pt idx="22">
                  <c:v>63977</c:v>
                </c:pt>
                <c:pt idx="23">
                  <c:v>56739</c:v>
                </c:pt>
                <c:pt idx="24">
                  <c:v>4643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6</c:v>
                </c:pt>
                <c:pt idx="1">
                  <c:v>3.53</c:v>
                </c:pt>
                <c:pt idx="2">
                  <c:v>3.55</c:v>
                </c:pt>
                <c:pt idx="3">
                  <c:v>3.48</c:v>
                </c:pt>
                <c:pt idx="4">
                  <c:v>3.78</c:v>
                </c:pt>
                <c:pt idx="5">
                  <c:v>3.97</c:v>
                </c:pt>
                <c:pt idx="6">
                  <c:v>3.92</c:v>
                </c:pt>
                <c:pt idx="7">
                  <c:v>3.91</c:v>
                </c:pt>
                <c:pt idx="8">
                  <c:v>4.13</c:v>
                </c:pt>
                <c:pt idx="9">
                  <c:v>4.3</c:v>
                </c:pt>
                <c:pt idx="10">
                  <c:v>4.25</c:v>
                </c:pt>
                <c:pt idx="11">
                  <c:v>3.91</c:v>
                </c:pt>
                <c:pt idx="12">
                  <c:v>3.85</c:v>
                </c:pt>
                <c:pt idx="13">
                  <c:v>3.93</c:v>
                </c:pt>
                <c:pt idx="14">
                  <c:v>3.93</c:v>
                </c:pt>
                <c:pt idx="15">
                  <c:v>4.23</c:v>
                </c:pt>
                <c:pt idx="16">
                  <c:v>4.34</c:v>
                </c:pt>
                <c:pt idx="17">
                  <c:v>4.1</c:v>
                </c:pt>
                <c:pt idx="18">
                  <c:v>3.56</c:v>
                </c:pt>
                <c:pt idx="19">
                  <c:v>3.49</c:v>
                </c:pt>
                <c:pt idx="20">
                  <c:v>3.54</c:v>
                </c:pt>
                <c:pt idx="21">
                  <c:v>3.33</c:v>
                </c:pt>
                <c:pt idx="22">
                  <c:v>3.91</c:v>
                </c:pt>
                <c:pt idx="23">
                  <c:v>4.18</c:v>
                </c:pt>
                <c:pt idx="24">
                  <c:v>4.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89,8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70,6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1,3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89879</c:v>
                </c:pt>
                <c:pt idx="1">
                  <c:v>966541</c:v>
                </c:pt>
                <c:pt idx="2">
                  <c:v>951652</c:v>
                </c:pt>
                <c:pt idx="3">
                  <c:v>884810</c:v>
                </c:pt>
                <c:pt idx="4">
                  <c:v>750370</c:v>
                </c:pt>
                <c:pt idx="5">
                  <c:v>874566</c:v>
                </c:pt>
                <c:pt idx="6">
                  <c:v>785955</c:v>
                </c:pt>
                <c:pt idx="7">
                  <c:v>899524</c:v>
                </c:pt>
                <c:pt idx="8">
                  <c:v>896005</c:v>
                </c:pt>
                <c:pt idx="9">
                  <c:v>962021</c:v>
                </c:pt>
                <c:pt idx="10">
                  <c:v>947188</c:v>
                </c:pt>
                <c:pt idx="11">
                  <c:v>1269446</c:v>
                </c:pt>
                <c:pt idx="12">
                  <c:v>939090</c:v>
                </c:pt>
                <c:pt idx="13">
                  <c:v>870613</c:v>
                </c:pt>
                <c:pt idx="14">
                  <c:v>963127</c:v>
                </c:pt>
                <c:pt idx="15">
                  <c:v>918077</c:v>
                </c:pt>
                <c:pt idx="16">
                  <c:v>761758</c:v>
                </c:pt>
                <c:pt idx="17">
                  <c:v>862738</c:v>
                </c:pt>
                <c:pt idx="18">
                  <c:v>786357</c:v>
                </c:pt>
                <c:pt idx="19">
                  <c:v>856794</c:v>
                </c:pt>
                <c:pt idx="20">
                  <c:v>852964</c:v>
                </c:pt>
                <c:pt idx="21">
                  <c:v>896062</c:v>
                </c:pt>
                <c:pt idx="22">
                  <c:v>917531</c:v>
                </c:pt>
                <c:pt idx="23">
                  <c:v>1276933</c:v>
                </c:pt>
                <c:pt idx="24">
                  <c:v>98139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c:v>
                </c:pt>
                <c:pt idx="1">
                  <c:v>1.93</c:v>
                </c:pt>
                <c:pt idx="2">
                  <c:v>1.83</c:v>
                </c:pt>
                <c:pt idx="3">
                  <c:v>1.9</c:v>
                </c:pt>
                <c:pt idx="4">
                  <c:v>2.04</c:v>
                </c:pt>
                <c:pt idx="5">
                  <c:v>1.99</c:v>
                </c:pt>
                <c:pt idx="6">
                  <c:v>2.04</c:v>
                </c:pt>
                <c:pt idx="7">
                  <c:v>2.13</c:v>
                </c:pt>
                <c:pt idx="8">
                  <c:v>2.16</c:v>
                </c:pt>
                <c:pt idx="9">
                  <c:v>2.11</c:v>
                </c:pt>
                <c:pt idx="10">
                  <c:v>2.06</c:v>
                </c:pt>
                <c:pt idx="11">
                  <c:v>1.76</c:v>
                </c:pt>
                <c:pt idx="12">
                  <c:v>1.89</c:v>
                </c:pt>
                <c:pt idx="13">
                  <c:v>2.0</c:v>
                </c:pt>
                <c:pt idx="14">
                  <c:v>2.06</c:v>
                </c:pt>
                <c:pt idx="15">
                  <c:v>2.13</c:v>
                </c:pt>
                <c:pt idx="16">
                  <c:v>2.27</c:v>
                </c:pt>
                <c:pt idx="17">
                  <c:v>1.85</c:v>
                </c:pt>
                <c:pt idx="18">
                  <c:v>1.98</c:v>
                </c:pt>
                <c:pt idx="19">
                  <c:v>2.05</c:v>
                </c:pt>
                <c:pt idx="20">
                  <c:v>1.95</c:v>
                </c:pt>
                <c:pt idx="21">
                  <c:v>1.88</c:v>
                </c:pt>
                <c:pt idx="22">
                  <c:v>2.07</c:v>
                </c:pt>
                <c:pt idx="23">
                  <c:v>1.94</c:v>
                </c:pt>
                <c:pt idx="24">
                  <c:v>2.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1,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8,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3,8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11208</c:v>
                </c:pt>
                <c:pt idx="1">
                  <c:v>180167</c:v>
                </c:pt>
                <c:pt idx="2">
                  <c:v>193525</c:v>
                </c:pt>
                <c:pt idx="3">
                  <c:v>164278</c:v>
                </c:pt>
                <c:pt idx="4">
                  <c:v>185032</c:v>
                </c:pt>
                <c:pt idx="5">
                  <c:v>157472</c:v>
                </c:pt>
                <c:pt idx="6">
                  <c:v>167994</c:v>
                </c:pt>
                <c:pt idx="7">
                  <c:v>273942</c:v>
                </c:pt>
                <c:pt idx="8">
                  <c:v>209251</c:v>
                </c:pt>
                <c:pt idx="9">
                  <c:v>221916</c:v>
                </c:pt>
                <c:pt idx="10">
                  <c:v>250738</c:v>
                </c:pt>
                <c:pt idx="11">
                  <c:v>231830</c:v>
                </c:pt>
                <c:pt idx="12">
                  <c:v>230205</c:v>
                </c:pt>
                <c:pt idx="13">
                  <c:v>168601</c:v>
                </c:pt>
                <c:pt idx="14">
                  <c:v>179330</c:v>
                </c:pt>
                <c:pt idx="15">
                  <c:v>147771</c:v>
                </c:pt>
                <c:pt idx="16">
                  <c:v>161502</c:v>
                </c:pt>
                <c:pt idx="17">
                  <c:v>128337</c:v>
                </c:pt>
                <c:pt idx="18">
                  <c:v>124500</c:v>
                </c:pt>
                <c:pt idx="19">
                  <c:v>143461</c:v>
                </c:pt>
                <c:pt idx="20">
                  <c:v>132088</c:v>
                </c:pt>
                <c:pt idx="21">
                  <c:v>153277</c:v>
                </c:pt>
                <c:pt idx="22">
                  <c:v>167834</c:v>
                </c:pt>
                <c:pt idx="23">
                  <c:v>175146</c:v>
                </c:pt>
                <c:pt idx="24">
                  <c:v>1638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16</c:v>
                </c:pt>
                <c:pt idx="1">
                  <c:v>6.29</c:v>
                </c:pt>
                <c:pt idx="2">
                  <c:v>5.98</c:v>
                </c:pt>
                <c:pt idx="3">
                  <c:v>5.95</c:v>
                </c:pt>
                <c:pt idx="4">
                  <c:v>6.19</c:v>
                </c:pt>
                <c:pt idx="5">
                  <c:v>6.31</c:v>
                </c:pt>
                <c:pt idx="6">
                  <c:v>6.07</c:v>
                </c:pt>
                <c:pt idx="7">
                  <c:v>6.31</c:v>
                </c:pt>
                <c:pt idx="8">
                  <c:v>6.76</c:v>
                </c:pt>
                <c:pt idx="9">
                  <c:v>6.59</c:v>
                </c:pt>
                <c:pt idx="10">
                  <c:v>6.19</c:v>
                </c:pt>
                <c:pt idx="11">
                  <c:v>7.01</c:v>
                </c:pt>
                <c:pt idx="12">
                  <c:v>6.29</c:v>
                </c:pt>
                <c:pt idx="13">
                  <c:v>7.02</c:v>
                </c:pt>
                <c:pt idx="14">
                  <c:v>6.4</c:v>
                </c:pt>
                <c:pt idx="15">
                  <c:v>6.59</c:v>
                </c:pt>
                <c:pt idx="16">
                  <c:v>6.83</c:v>
                </c:pt>
                <c:pt idx="17">
                  <c:v>7.0</c:v>
                </c:pt>
                <c:pt idx="18">
                  <c:v>6.78</c:v>
                </c:pt>
                <c:pt idx="19">
                  <c:v>6.96</c:v>
                </c:pt>
                <c:pt idx="20">
                  <c:v>6.44</c:v>
                </c:pt>
                <c:pt idx="21">
                  <c:v>6.35</c:v>
                </c:pt>
                <c:pt idx="22">
                  <c:v>6.43</c:v>
                </c:pt>
                <c:pt idx="23">
                  <c:v>6.63</c:v>
                </c:pt>
                <c:pt idx="24">
                  <c:v>6.1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20,0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03,0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9,4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20045</c:v>
                </c:pt>
                <c:pt idx="1">
                  <c:v>477129</c:v>
                </c:pt>
                <c:pt idx="2">
                  <c:v>486471</c:v>
                </c:pt>
                <c:pt idx="3">
                  <c:v>451319</c:v>
                </c:pt>
                <c:pt idx="4">
                  <c:v>524160</c:v>
                </c:pt>
                <c:pt idx="5">
                  <c:v>525081</c:v>
                </c:pt>
                <c:pt idx="6">
                  <c:v>470866</c:v>
                </c:pt>
                <c:pt idx="7">
                  <c:v>540271</c:v>
                </c:pt>
                <c:pt idx="8">
                  <c:v>548069</c:v>
                </c:pt>
                <c:pt idx="9">
                  <c:v>509550</c:v>
                </c:pt>
                <c:pt idx="10">
                  <c:v>537709</c:v>
                </c:pt>
                <c:pt idx="11">
                  <c:v>565417</c:v>
                </c:pt>
                <c:pt idx="12">
                  <c:v>502828</c:v>
                </c:pt>
                <c:pt idx="13">
                  <c:v>503095</c:v>
                </c:pt>
                <c:pt idx="14">
                  <c:v>501820</c:v>
                </c:pt>
                <c:pt idx="15">
                  <c:v>432491</c:v>
                </c:pt>
                <c:pt idx="16">
                  <c:v>511478</c:v>
                </c:pt>
                <c:pt idx="17">
                  <c:v>466688</c:v>
                </c:pt>
                <c:pt idx="18">
                  <c:v>484580</c:v>
                </c:pt>
                <c:pt idx="19">
                  <c:v>552986</c:v>
                </c:pt>
                <c:pt idx="20">
                  <c:v>557853</c:v>
                </c:pt>
                <c:pt idx="21">
                  <c:v>563920</c:v>
                </c:pt>
                <c:pt idx="22">
                  <c:v>587880</c:v>
                </c:pt>
                <c:pt idx="23">
                  <c:v>627598</c:v>
                </c:pt>
                <c:pt idx="24">
                  <c:v>6194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c:v>
                </c:pt>
                <c:pt idx="1">
                  <c:v>3.11</c:v>
                </c:pt>
                <c:pt idx="2">
                  <c:v>3.12</c:v>
                </c:pt>
                <c:pt idx="3">
                  <c:v>2.93</c:v>
                </c:pt>
                <c:pt idx="4">
                  <c:v>3.0</c:v>
                </c:pt>
                <c:pt idx="5">
                  <c:v>2.95</c:v>
                </c:pt>
                <c:pt idx="6">
                  <c:v>2.95</c:v>
                </c:pt>
                <c:pt idx="7">
                  <c:v>3.21</c:v>
                </c:pt>
                <c:pt idx="8">
                  <c:v>3.07</c:v>
                </c:pt>
                <c:pt idx="9">
                  <c:v>3.31</c:v>
                </c:pt>
                <c:pt idx="10">
                  <c:v>3.35</c:v>
                </c:pt>
                <c:pt idx="11">
                  <c:v>3.24</c:v>
                </c:pt>
                <c:pt idx="12">
                  <c:v>3.16</c:v>
                </c:pt>
                <c:pt idx="13">
                  <c:v>3.18</c:v>
                </c:pt>
                <c:pt idx="14">
                  <c:v>3.03</c:v>
                </c:pt>
                <c:pt idx="15">
                  <c:v>3.11</c:v>
                </c:pt>
                <c:pt idx="16">
                  <c:v>3.11</c:v>
                </c:pt>
                <c:pt idx="17">
                  <c:v>3.09</c:v>
                </c:pt>
                <c:pt idx="18">
                  <c:v>3.15</c:v>
                </c:pt>
                <c:pt idx="19">
                  <c:v>3.16</c:v>
                </c:pt>
                <c:pt idx="20">
                  <c:v>3.09</c:v>
                </c:pt>
                <c:pt idx="21">
                  <c:v>3.11</c:v>
                </c:pt>
                <c:pt idx="22">
                  <c:v>3.2</c:v>
                </c:pt>
                <c:pt idx="23">
                  <c:v>3.09</c:v>
                </c:pt>
                <c:pt idx="24">
                  <c:v>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94,4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74,7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42,9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94496</c:v>
                </c:pt>
                <c:pt idx="1">
                  <c:v>1341272</c:v>
                </c:pt>
                <c:pt idx="2">
                  <c:v>1345815</c:v>
                </c:pt>
                <c:pt idx="3">
                  <c:v>1134713</c:v>
                </c:pt>
                <c:pt idx="4">
                  <c:v>1301683</c:v>
                </c:pt>
                <c:pt idx="5">
                  <c:v>1147637</c:v>
                </c:pt>
                <c:pt idx="6">
                  <c:v>1249932</c:v>
                </c:pt>
                <c:pt idx="7">
                  <c:v>1815758</c:v>
                </c:pt>
                <c:pt idx="8">
                  <c:v>1607058</c:v>
                </c:pt>
                <c:pt idx="9">
                  <c:v>1821467</c:v>
                </c:pt>
                <c:pt idx="10">
                  <c:v>1886200</c:v>
                </c:pt>
                <c:pt idx="11">
                  <c:v>1887946</c:v>
                </c:pt>
                <c:pt idx="12">
                  <c:v>1629623</c:v>
                </c:pt>
                <c:pt idx="13">
                  <c:v>1374710</c:v>
                </c:pt>
                <c:pt idx="14">
                  <c:v>1349345</c:v>
                </c:pt>
                <c:pt idx="15">
                  <c:v>1239917</c:v>
                </c:pt>
                <c:pt idx="16">
                  <c:v>1439539</c:v>
                </c:pt>
                <c:pt idx="17">
                  <c:v>1192784</c:v>
                </c:pt>
                <c:pt idx="18">
                  <c:v>1293560</c:v>
                </c:pt>
                <c:pt idx="19">
                  <c:v>1512087</c:v>
                </c:pt>
                <c:pt idx="20">
                  <c:v>1679346</c:v>
                </c:pt>
                <c:pt idx="21">
                  <c:v>1829037</c:v>
                </c:pt>
                <c:pt idx="22">
                  <c:v>2011242</c:v>
                </c:pt>
                <c:pt idx="23">
                  <c:v>2238078</c:v>
                </c:pt>
                <c:pt idx="24">
                  <c:v>24429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1</c:v>
                </c:pt>
                <c:pt idx="1">
                  <c:v>3.65</c:v>
                </c:pt>
                <c:pt idx="2">
                  <c:v>3.46</c:v>
                </c:pt>
                <c:pt idx="3">
                  <c:v>3.37</c:v>
                </c:pt>
                <c:pt idx="4">
                  <c:v>3.57</c:v>
                </c:pt>
                <c:pt idx="5">
                  <c:v>3.62</c:v>
                </c:pt>
                <c:pt idx="6">
                  <c:v>3.22</c:v>
                </c:pt>
                <c:pt idx="7">
                  <c:v>3.51</c:v>
                </c:pt>
                <c:pt idx="8">
                  <c:v>3.43</c:v>
                </c:pt>
                <c:pt idx="9">
                  <c:v>3.17</c:v>
                </c:pt>
                <c:pt idx="10">
                  <c:v>3.35</c:v>
                </c:pt>
                <c:pt idx="11">
                  <c:v>3.57</c:v>
                </c:pt>
                <c:pt idx="12">
                  <c:v>3.62</c:v>
                </c:pt>
                <c:pt idx="13">
                  <c:v>3.77</c:v>
                </c:pt>
                <c:pt idx="14">
                  <c:v>3.58</c:v>
                </c:pt>
                <c:pt idx="15">
                  <c:v>3.28</c:v>
                </c:pt>
                <c:pt idx="16">
                  <c:v>3.64</c:v>
                </c:pt>
                <c:pt idx="17">
                  <c:v>3.5</c:v>
                </c:pt>
                <c:pt idx="18">
                  <c:v>3.43</c:v>
                </c:pt>
                <c:pt idx="19">
                  <c:v>3.65</c:v>
                </c:pt>
                <c:pt idx="20">
                  <c:v>3.05</c:v>
                </c:pt>
                <c:pt idx="21">
                  <c:v>3.13</c:v>
                </c:pt>
                <c:pt idx="22">
                  <c:v>3.44</c:v>
                </c:pt>
                <c:pt idx="23">
                  <c:v>3.45</c:v>
                </c:pt>
                <c:pt idx="24">
                  <c:v>2.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5,2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3,0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6,4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5201</c:v>
                </c:pt>
                <c:pt idx="1">
                  <c:v>88084</c:v>
                </c:pt>
                <c:pt idx="2">
                  <c:v>80010</c:v>
                </c:pt>
                <c:pt idx="3">
                  <c:v>72103</c:v>
                </c:pt>
                <c:pt idx="4">
                  <c:v>87133</c:v>
                </c:pt>
                <c:pt idx="5">
                  <c:v>75410</c:v>
                </c:pt>
                <c:pt idx="6">
                  <c:v>71633</c:v>
                </c:pt>
                <c:pt idx="7">
                  <c:v>80835</c:v>
                </c:pt>
                <c:pt idx="8">
                  <c:v>83397</c:v>
                </c:pt>
                <c:pt idx="9">
                  <c:v>87536</c:v>
                </c:pt>
                <c:pt idx="10">
                  <c:v>88989</c:v>
                </c:pt>
                <c:pt idx="11">
                  <c:v>94621</c:v>
                </c:pt>
                <c:pt idx="12">
                  <c:v>89011</c:v>
                </c:pt>
                <c:pt idx="13">
                  <c:v>73089</c:v>
                </c:pt>
                <c:pt idx="14">
                  <c:v>70007</c:v>
                </c:pt>
                <c:pt idx="15">
                  <c:v>57768</c:v>
                </c:pt>
                <c:pt idx="16">
                  <c:v>69911</c:v>
                </c:pt>
                <c:pt idx="17">
                  <c:v>53393</c:v>
                </c:pt>
                <c:pt idx="18">
                  <c:v>56393</c:v>
                </c:pt>
                <c:pt idx="19">
                  <c:v>66320</c:v>
                </c:pt>
                <c:pt idx="20">
                  <c:v>59792</c:v>
                </c:pt>
                <c:pt idx="21">
                  <c:v>64522</c:v>
                </c:pt>
                <c:pt idx="22">
                  <c:v>71308</c:v>
                </c:pt>
                <c:pt idx="23">
                  <c:v>73856</c:v>
                </c:pt>
                <c:pt idx="24">
                  <c:v>6648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34</c:v>
                </c:pt>
                <c:pt idx="1">
                  <c:v>4.35</c:v>
                </c:pt>
                <c:pt idx="2">
                  <c:v>4.34</c:v>
                </c:pt>
                <c:pt idx="3">
                  <c:v>4.32</c:v>
                </c:pt>
                <c:pt idx="4">
                  <c:v>4.31</c:v>
                </c:pt>
                <c:pt idx="5">
                  <c:v>4.12</c:v>
                </c:pt>
                <c:pt idx="6">
                  <c:v>4.44</c:v>
                </c:pt>
                <c:pt idx="7">
                  <c:v>4.59</c:v>
                </c:pt>
                <c:pt idx="8">
                  <c:v>4.73</c:v>
                </c:pt>
                <c:pt idx="9">
                  <c:v>4.81</c:v>
                </c:pt>
                <c:pt idx="10">
                  <c:v>4.7</c:v>
                </c:pt>
                <c:pt idx="11">
                  <c:v>4.73</c:v>
                </c:pt>
                <c:pt idx="12">
                  <c:v>4.69</c:v>
                </c:pt>
                <c:pt idx="13">
                  <c:v>4.72</c:v>
                </c:pt>
                <c:pt idx="14">
                  <c:v>4.7</c:v>
                </c:pt>
                <c:pt idx="15">
                  <c:v>4.7</c:v>
                </c:pt>
                <c:pt idx="16">
                  <c:v>4.69</c:v>
                </c:pt>
                <c:pt idx="17">
                  <c:v>4.7</c:v>
                </c:pt>
                <c:pt idx="18">
                  <c:v>4.62</c:v>
                </c:pt>
                <c:pt idx="19">
                  <c:v>4.61</c:v>
                </c:pt>
                <c:pt idx="20">
                  <c:v>4.59</c:v>
                </c:pt>
                <c:pt idx="21">
                  <c:v>4.6</c:v>
                </c:pt>
                <c:pt idx="22">
                  <c:v>4.6</c:v>
                </c:pt>
                <c:pt idx="23">
                  <c:v>4.61</c:v>
                </c:pt>
                <c:pt idx="24">
                  <c:v>4.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87,4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78,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47,6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187427</c:v>
                </c:pt>
                <c:pt idx="1">
                  <c:v>2556391</c:v>
                </c:pt>
                <c:pt idx="2">
                  <c:v>2542052</c:v>
                </c:pt>
                <c:pt idx="3">
                  <c:v>2321077</c:v>
                </c:pt>
                <c:pt idx="4">
                  <c:v>2755727</c:v>
                </c:pt>
                <c:pt idx="5">
                  <c:v>2241248</c:v>
                </c:pt>
                <c:pt idx="6">
                  <c:v>2142815</c:v>
                </c:pt>
                <c:pt idx="7">
                  <c:v>2464534</c:v>
                </c:pt>
                <c:pt idx="8">
                  <c:v>2563858</c:v>
                </c:pt>
                <c:pt idx="9">
                  <c:v>2774784</c:v>
                </c:pt>
                <c:pt idx="10">
                  <c:v>2956752</c:v>
                </c:pt>
                <c:pt idx="11">
                  <c:v>3223292</c:v>
                </c:pt>
                <c:pt idx="12">
                  <c:v>3115953</c:v>
                </c:pt>
                <c:pt idx="13">
                  <c:v>2478143</c:v>
                </c:pt>
                <c:pt idx="14">
                  <c:v>2436513</c:v>
                </c:pt>
                <c:pt idx="15">
                  <c:v>2215304</c:v>
                </c:pt>
                <c:pt idx="16">
                  <c:v>2658736</c:v>
                </c:pt>
                <c:pt idx="17">
                  <c:v>2174268</c:v>
                </c:pt>
                <c:pt idx="18">
                  <c:v>2250691</c:v>
                </c:pt>
                <c:pt idx="19">
                  <c:v>2561568</c:v>
                </c:pt>
                <c:pt idx="20">
                  <c:v>2478105</c:v>
                </c:pt>
                <c:pt idx="21">
                  <c:v>2701369</c:v>
                </c:pt>
                <c:pt idx="22">
                  <c:v>3042808</c:v>
                </c:pt>
                <c:pt idx="23">
                  <c:v>3073033</c:v>
                </c:pt>
                <c:pt idx="24">
                  <c:v>29476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2</c:v>
                </c:pt>
                <c:pt idx="1">
                  <c:v>1.26</c:v>
                </c:pt>
                <c:pt idx="2">
                  <c:v>1.23</c:v>
                </c:pt>
                <c:pt idx="3">
                  <c:v>1.23</c:v>
                </c:pt>
                <c:pt idx="4">
                  <c:v>1.25</c:v>
                </c:pt>
                <c:pt idx="5">
                  <c:v>1.23</c:v>
                </c:pt>
                <c:pt idx="6">
                  <c:v>1.26</c:v>
                </c:pt>
                <c:pt idx="7">
                  <c:v>1.29</c:v>
                </c:pt>
                <c:pt idx="8">
                  <c:v>1.32</c:v>
                </c:pt>
                <c:pt idx="9">
                  <c:v>1.33</c:v>
                </c:pt>
                <c:pt idx="10">
                  <c:v>1.33</c:v>
                </c:pt>
                <c:pt idx="11">
                  <c:v>1.36</c:v>
                </c:pt>
                <c:pt idx="12">
                  <c:v>1.35</c:v>
                </c:pt>
                <c:pt idx="13">
                  <c:v>1.31</c:v>
                </c:pt>
                <c:pt idx="14">
                  <c:v>1.26</c:v>
                </c:pt>
                <c:pt idx="15">
                  <c:v>1.25</c:v>
                </c:pt>
                <c:pt idx="16">
                  <c:v>1.29</c:v>
                </c:pt>
                <c:pt idx="17">
                  <c:v>1.25</c:v>
                </c:pt>
                <c:pt idx="18">
                  <c:v>1.27</c:v>
                </c:pt>
                <c:pt idx="19">
                  <c:v>1.29</c:v>
                </c:pt>
                <c:pt idx="20">
                  <c:v>1.28</c:v>
                </c:pt>
                <c:pt idx="21">
                  <c:v>1.29</c:v>
                </c:pt>
                <c:pt idx="22">
                  <c:v>1.32</c:v>
                </c:pt>
                <c:pt idx="23">
                  <c:v>1.31</c:v>
                </c:pt>
                <c:pt idx="24">
                  <c:v>1.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82,8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60,9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0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82875</c:v>
                </c:pt>
                <c:pt idx="1">
                  <c:v>325306</c:v>
                </c:pt>
                <c:pt idx="2">
                  <c:v>419954</c:v>
                </c:pt>
                <c:pt idx="3">
                  <c:v>507552</c:v>
                </c:pt>
                <c:pt idx="4">
                  <c:v>559968</c:v>
                </c:pt>
                <c:pt idx="5">
                  <c:v>339374</c:v>
                </c:pt>
                <c:pt idx="6">
                  <c:v>318486</c:v>
                </c:pt>
                <c:pt idx="7">
                  <c:v>374513</c:v>
                </c:pt>
                <c:pt idx="8">
                  <c:v>363791</c:v>
                </c:pt>
                <c:pt idx="9">
                  <c:v>358537</c:v>
                </c:pt>
                <c:pt idx="10">
                  <c:v>366605</c:v>
                </c:pt>
                <c:pt idx="11">
                  <c:v>385844</c:v>
                </c:pt>
                <c:pt idx="12">
                  <c:v>400620</c:v>
                </c:pt>
                <c:pt idx="13">
                  <c:v>360999</c:v>
                </c:pt>
                <c:pt idx="14">
                  <c:v>414458</c:v>
                </c:pt>
                <c:pt idx="15">
                  <c:v>520061</c:v>
                </c:pt>
                <c:pt idx="16">
                  <c:v>781024</c:v>
                </c:pt>
                <c:pt idx="17">
                  <c:v>344653</c:v>
                </c:pt>
                <c:pt idx="18">
                  <c:v>327400</c:v>
                </c:pt>
                <c:pt idx="19">
                  <c:v>346321</c:v>
                </c:pt>
                <c:pt idx="20">
                  <c:v>327087</c:v>
                </c:pt>
                <c:pt idx="21">
                  <c:v>346742</c:v>
                </c:pt>
                <c:pt idx="22">
                  <c:v>350291</c:v>
                </c:pt>
                <c:pt idx="23">
                  <c:v>361754</c:v>
                </c:pt>
                <c:pt idx="24">
                  <c:v>36003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9</c:v>
                </c:pt>
                <c:pt idx="1">
                  <c:v>1.75</c:v>
                </c:pt>
                <c:pt idx="2">
                  <c:v>1.71</c:v>
                </c:pt>
                <c:pt idx="3">
                  <c:v>1.71</c:v>
                </c:pt>
                <c:pt idx="4">
                  <c:v>1.7</c:v>
                </c:pt>
                <c:pt idx="5">
                  <c:v>1.7</c:v>
                </c:pt>
                <c:pt idx="6">
                  <c:v>1.79</c:v>
                </c:pt>
                <c:pt idx="7">
                  <c:v>1.8</c:v>
                </c:pt>
                <c:pt idx="8">
                  <c:v>1.83</c:v>
                </c:pt>
                <c:pt idx="9">
                  <c:v>1.83</c:v>
                </c:pt>
                <c:pt idx="10">
                  <c:v>1.84</c:v>
                </c:pt>
                <c:pt idx="11">
                  <c:v>1.8</c:v>
                </c:pt>
                <c:pt idx="12">
                  <c:v>1.79</c:v>
                </c:pt>
                <c:pt idx="13">
                  <c:v>1.78</c:v>
                </c:pt>
                <c:pt idx="14">
                  <c:v>1.86</c:v>
                </c:pt>
                <c:pt idx="15">
                  <c:v>2.08</c:v>
                </c:pt>
                <c:pt idx="16">
                  <c:v>2.13</c:v>
                </c:pt>
                <c:pt idx="17">
                  <c:v>1.71</c:v>
                </c:pt>
                <c:pt idx="18">
                  <c:v>1.73</c:v>
                </c:pt>
                <c:pt idx="19">
                  <c:v>1.76</c:v>
                </c:pt>
                <c:pt idx="20">
                  <c:v>1.75</c:v>
                </c:pt>
                <c:pt idx="21">
                  <c:v>1.78</c:v>
                </c:pt>
                <c:pt idx="22">
                  <c:v>1.82</c:v>
                </c:pt>
                <c:pt idx="23">
                  <c:v>1.8</c:v>
                </c:pt>
                <c:pt idx="24">
                  <c:v>1.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89,9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92,9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32,9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89923</c:v>
                </c:pt>
                <c:pt idx="1">
                  <c:v>949362</c:v>
                </c:pt>
                <c:pt idx="2">
                  <c:v>904860</c:v>
                </c:pt>
                <c:pt idx="3">
                  <c:v>863915</c:v>
                </c:pt>
                <c:pt idx="4">
                  <c:v>1097881</c:v>
                </c:pt>
                <c:pt idx="5">
                  <c:v>787221</c:v>
                </c:pt>
                <c:pt idx="6">
                  <c:v>755024</c:v>
                </c:pt>
                <c:pt idx="7">
                  <c:v>877768</c:v>
                </c:pt>
                <c:pt idx="8">
                  <c:v>915554</c:v>
                </c:pt>
                <c:pt idx="9">
                  <c:v>1015118</c:v>
                </c:pt>
                <c:pt idx="10">
                  <c:v>1089835</c:v>
                </c:pt>
                <c:pt idx="11">
                  <c:v>1148361</c:v>
                </c:pt>
                <c:pt idx="12">
                  <c:v>1077988</c:v>
                </c:pt>
                <c:pt idx="13">
                  <c:v>892900</c:v>
                </c:pt>
                <c:pt idx="14">
                  <c:v>871653</c:v>
                </c:pt>
                <c:pt idx="15">
                  <c:v>826435</c:v>
                </c:pt>
                <c:pt idx="16">
                  <c:v>1036627</c:v>
                </c:pt>
                <c:pt idx="17">
                  <c:v>747040</c:v>
                </c:pt>
                <c:pt idx="18">
                  <c:v>727598</c:v>
                </c:pt>
                <c:pt idx="19">
                  <c:v>842248</c:v>
                </c:pt>
                <c:pt idx="20">
                  <c:v>824153</c:v>
                </c:pt>
                <c:pt idx="21">
                  <c:v>914741</c:v>
                </c:pt>
                <c:pt idx="22">
                  <c:v>1040748</c:v>
                </c:pt>
                <c:pt idx="23">
                  <c:v>1121220</c:v>
                </c:pt>
                <c:pt idx="24">
                  <c:v>103290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6</c:v>
                </c:pt>
                <c:pt idx="1">
                  <c:v>2.22</c:v>
                </c:pt>
                <c:pt idx="2">
                  <c:v>2.21</c:v>
                </c:pt>
                <c:pt idx="3">
                  <c:v>2.13</c:v>
                </c:pt>
                <c:pt idx="4">
                  <c:v>2.05</c:v>
                </c:pt>
                <c:pt idx="5">
                  <c:v>2.26</c:v>
                </c:pt>
                <c:pt idx="6">
                  <c:v>2.38</c:v>
                </c:pt>
                <c:pt idx="7">
                  <c:v>2.45</c:v>
                </c:pt>
                <c:pt idx="8">
                  <c:v>2.47</c:v>
                </c:pt>
                <c:pt idx="9">
                  <c:v>2.5</c:v>
                </c:pt>
                <c:pt idx="10">
                  <c:v>2.48</c:v>
                </c:pt>
                <c:pt idx="11">
                  <c:v>2.52</c:v>
                </c:pt>
                <c:pt idx="12">
                  <c:v>2.51</c:v>
                </c:pt>
                <c:pt idx="13">
                  <c:v>2.51</c:v>
                </c:pt>
                <c:pt idx="14">
                  <c:v>2.45</c:v>
                </c:pt>
                <c:pt idx="15">
                  <c:v>2.33</c:v>
                </c:pt>
                <c:pt idx="16">
                  <c:v>2.21</c:v>
                </c:pt>
                <c:pt idx="17">
                  <c:v>2.38</c:v>
                </c:pt>
                <c:pt idx="18">
                  <c:v>2.43</c:v>
                </c:pt>
                <c:pt idx="19">
                  <c:v>2.47</c:v>
                </c:pt>
                <c:pt idx="20">
                  <c:v>2.43</c:v>
                </c:pt>
                <c:pt idx="21">
                  <c:v>2.43</c:v>
                </c:pt>
                <c:pt idx="22">
                  <c:v>2.44</c:v>
                </c:pt>
                <c:pt idx="23">
                  <c:v>2.43</c:v>
                </c:pt>
                <c:pt idx="24">
                  <c:v>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82,3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02,1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4,1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82365</c:v>
                </c:pt>
                <c:pt idx="1">
                  <c:v>889852</c:v>
                </c:pt>
                <c:pt idx="2">
                  <c:v>864780</c:v>
                </c:pt>
                <c:pt idx="3">
                  <c:v>791401</c:v>
                </c:pt>
                <c:pt idx="4">
                  <c:v>816858</c:v>
                </c:pt>
                <c:pt idx="5">
                  <c:v>881608</c:v>
                </c:pt>
                <c:pt idx="6">
                  <c:v>812346</c:v>
                </c:pt>
                <c:pt idx="7">
                  <c:v>947686</c:v>
                </c:pt>
                <c:pt idx="8">
                  <c:v>946213</c:v>
                </c:pt>
                <c:pt idx="9">
                  <c:v>1004131</c:v>
                </c:pt>
                <c:pt idx="10">
                  <c:v>1006217</c:v>
                </c:pt>
                <c:pt idx="11">
                  <c:v>1040736</c:v>
                </c:pt>
                <c:pt idx="12">
                  <c:v>995339</c:v>
                </c:pt>
                <c:pt idx="13">
                  <c:v>902161</c:v>
                </c:pt>
                <c:pt idx="14">
                  <c:v>867304</c:v>
                </c:pt>
                <c:pt idx="15">
                  <c:v>797022</c:v>
                </c:pt>
                <c:pt idx="16">
                  <c:v>821399</c:v>
                </c:pt>
                <c:pt idx="17">
                  <c:v>844834</c:v>
                </c:pt>
                <c:pt idx="18">
                  <c:v>840956</c:v>
                </c:pt>
                <c:pt idx="19">
                  <c:v>955635</c:v>
                </c:pt>
                <c:pt idx="20">
                  <c:v>947130</c:v>
                </c:pt>
                <c:pt idx="21">
                  <c:v>1007748</c:v>
                </c:pt>
                <c:pt idx="22">
                  <c:v>1055721</c:v>
                </c:pt>
                <c:pt idx="23">
                  <c:v>1041341</c:v>
                </c:pt>
                <c:pt idx="24">
                  <c:v>9841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19</c:v>
                </c:pt>
                <c:pt idx="1">
                  <c:v>1.17</c:v>
                </c:pt>
                <c:pt idx="2">
                  <c:v>1.16</c:v>
                </c:pt>
                <c:pt idx="3">
                  <c:v>1.14</c:v>
                </c:pt>
                <c:pt idx="4">
                  <c:v>1.14</c:v>
                </c:pt>
                <c:pt idx="5">
                  <c:v>1.13</c:v>
                </c:pt>
                <c:pt idx="6">
                  <c:v>1.15</c:v>
                </c:pt>
                <c:pt idx="7">
                  <c:v>1.18</c:v>
                </c:pt>
                <c:pt idx="8">
                  <c:v>1.2</c:v>
                </c:pt>
                <c:pt idx="9">
                  <c:v>1.21</c:v>
                </c:pt>
                <c:pt idx="10">
                  <c:v>1.22</c:v>
                </c:pt>
                <c:pt idx="11">
                  <c:v>1.23</c:v>
                </c:pt>
                <c:pt idx="12">
                  <c:v>1.22</c:v>
                </c:pt>
                <c:pt idx="13">
                  <c:v>1.2</c:v>
                </c:pt>
                <c:pt idx="14">
                  <c:v>1.18</c:v>
                </c:pt>
                <c:pt idx="15">
                  <c:v>1.18</c:v>
                </c:pt>
                <c:pt idx="16">
                  <c:v>1.18</c:v>
                </c:pt>
                <c:pt idx="17">
                  <c:v>1.16</c:v>
                </c:pt>
                <c:pt idx="18">
                  <c:v>1.18</c:v>
                </c:pt>
                <c:pt idx="19">
                  <c:v>1.21</c:v>
                </c:pt>
                <c:pt idx="20">
                  <c:v>1.21</c:v>
                </c:pt>
                <c:pt idx="21">
                  <c:v>1.22</c:v>
                </c:pt>
                <c:pt idx="22">
                  <c:v>1.24</c:v>
                </c:pt>
                <c:pt idx="23">
                  <c:v>1.22</c:v>
                </c:pt>
                <c:pt idx="24">
                  <c:v>1.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1,8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0,0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0,5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21898</c:v>
                </c:pt>
                <c:pt idx="1">
                  <c:v>114904</c:v>
                </c:pt>
                <c:pt idx="2">
                  <c:v>135954</c:v>
                </c:pt>
                <c:pt idx="3">
                  <c:v>161163</c:v>
                </c:pt>
                <c:pt idx="4">
                  <c:v>178770</c:v>
                </c:pt>
                <c:pt idx="5">
                  <c:v>129646</c:v>
                </c:pt>
                <c:pt idx="6">
                  <c:v>120666</c:v>
                </c:pt>
                <c:pt idx="7">
                  <c:v>143554</c:v>
                </c:pt>
                <c:pt idx="8">
                  <c:v>134987</c:v>
                </c:pt>
                <c:pt idx="9">
                  <c:v>137000</c:v>
                </c:pt>
                <c:pt idx="10">
                  <c:v>131659</c:v>
                </c:pt>
                <c:pt idx="11">
                  <c:v>135552</c:v>
                </c:pt>
                <c:pt idx="12">
                  <c:v>139027</c:v>
                </c:pt>
                <c:pt idx="13">
                  <c:v>130059</c:v>
                </c:pt>
                <c:pt idx="14">
                  <c:v>138003</c:v>
                </c:pt>
                <c:pt idx="15">
                  <c:v>155182</c:v>
                </c:pt>
                <c:pt idx="16">
                  <c:v>293292</c:v>
                </c:pt>
                <c:pt idx="17">
                  <c:v>134238</c:v>
                </c:pt>
                <c:pt idx="18">
                  <c:v>132256</c:v>
                </c:pt>
                <c:pt idx="19">
                  <c:v>147938</c:v>
                </c:pt>
                <c:pt idx="20">
                  <c:v>136926</c:v>
                </c:pt>
                <c:pt idx="21">
                  <c:v>140750</c:v>
                </c:pt>
                <c:pt idx="22">
                  <c:v>140530</c:v>
                </c:pt>
                <c:pt idx="23">
                  <c:v>138624</c:v>
                </c:pt>
                <c:pt idx="24">
                  <c:v>13050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7</c:v>
                </c:pt>
                <c:pt idx="1">
                  <c:v>1.76</c:v>
                </c:pt>
                <c:pt idx="2">
                  <c:v>1.76</c:v>
                </c:pt>
                <c:pt idx="3">
                  <c:v>1.77</c:v>
                </c:pt>
                <c:pt idx="4">
                  <c:v>1.73</c:v>
                </c:pt>
                <c:pt idx="5">
                  <c:v>1.72</c:v>
                </c:pt>
                <c:pt idx="6">
                  <c:v>1.74</c:v>
                </c:pt>
                <c:pt idx="7">
                  <c:v>1.8</c:v>
                </c:pt>
                <c:pt idx="8">
                  <c:v>1.79</c:v>
                </c:pt>
                <c:pt idx="9">
                  <c:v>1.76</c:v>
                </c:pt>
                <c:pt idx="10">
                  <c:v>1.78</c:v>
                </c:pt>
                <c:pt idx="11">
                  <c:v>1.75</c:v>
                </c:pt>
                <c:pt idx="12">
                  <c:v>1.73</c:v>
                </c:pt>
                <c:pt idx="13">
                  <c:v>1.72</c:v>
                </c:pt>
                <c:pt idx="14">
                  <c:v>1.74</c:v>
                </c:pt>
                <c:pt idx="15">
                  <c:v>1.86</c:v>
                </c:pt>
                <c:pt idx="16">
                  <c:v>1.84</c:v>
                </c:pt>
                <c:pt idx="17">
                  <c:v>1.72</c:v>
                </c:pt>
                <c:pt idx="18">
                  <c:v>1.74</c:v>
                </c:pt>
                <c:pt idx="19">
                  <c:v>1.75</c:v>
                </c:pt>
                <c:pt idx="20">
                  <c:v>1.74</c:v>
                </c:pt>
                <c:pt idx="21">
                  <c:v>1.76</c:v>
                </c:pt>
                <c:pt idx="22">
                  <c:v>1.77</c:v>
                </c:pt>
                <c:pt idx="23">
                  <c:v>1.67</c:v>
                </c:pt>
                <c:pt idx="24">
                  <c:v>1.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83,87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0,3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72,5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83871</c:v>
                </c:pt>
                <c:pt idx="1">
                  <c:v>360272</c:v>
                </c:pt>
                <c:pt idx="2">
                  <c:v>343023</c:v>
                </c:pt>
                <c:pt idx="3">
                  <c:v>314691</c:v>
                </c:pt>
                <c:pt idx="4">
                  <c:v>360069</c:v>
                </c:pt>
                <c:pt idx="5">
                  <c:v>324607</c:v>
                </c:pt>
                <c:pt idx="6">
                  <c:v>302100</c:v>
                </c:pt>
                <c:pt idx="7">
                  <c:v>359562</c:v>
                </c:pt>
                <c:pt idx="8">
                  <c:v>356810</c:v>
                </c:pt>
                <c:pt idx="9">
                  <c:v>380098</c:v>
                </c:pt>
                <c:pt idx="10">
                  <c:v>392081</c:v>
                </c:pt>
                <c:pt idx="11">
                  <c:v>391377</c:v>
                </c:pt>
                <c:pt idx="12">
                  <c:v>362873</c:v>
                </c:pt>
                <c:pt idx="13">
                  <c:v>330337</c:v>
                </c:pt>
                <c:pt idx="14">
                  <c:v>319391</c:v>
                </c:pt>
                <c:pt idx="15">
                  <c:v>294301</c:v>
                </c:pt>
                <c:pt idx="16">
                  <c:v>327343</c:v>
                </c:pt>
                <c:pt idx="17">
                  <c:v>300276</c:v>
                </c:pt>
                <c:pt idx="18">
                  <c:v>300277</c:v>
                </c:pt>
                <c:pt idx="19">
                  <c:v>347601</c:v>
                </c:pt>
                <c:pt idx="20">
                  <c:v>344461</c:v>
                </c:pt>
                <c:pt idx="21">
                  <c:v>369778</c:v>
                </c:pt>
                <c:pt idx="22">
                  <c:v>380422</c:v>
                </c:pt>
                <c:pt idx="23">
                  <c:v>395023</c:v>
                </c:pt>
                <c:pt idx="24">
                  <c:v>3725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8</c:v>
                </c:pt>
                <c:pt idx="1">
                  <c:v>2.13</c:v>
                </c:pt>
                <c:pt idx="2">
                  <c:v>2.14</c:v>
                </c:pt>
                <c:pt idx="3">
                  <c:v>2.06</c:v>
                </c:pt>
                <c:pt idx="4">
                  <c:v>1.89</c:v>
                </c:pt>
                <c:pt idx="5">
                  <c:v>2.09</c:v>
                </c:pt>
                <c:pt idx="6">
                  <c:v>2.19</c:v>
                </c:pt>
                <c:pt idx="7">
                  <c:v>2.28</c:v>
                </c:pt>
                <c:pt idx="8">
                  <c:v>2.31</c:v>
                </c:pt>
                <c:pt idx="9">
                  <c:v>2.35</c:v>
                </c:pt>
                <c:pt idx="10">
                  <c:v>2.32</c:v>
                </c:pt>
                <c:pt idx="11">
                  <c:v>2.35</c:v>
                </c:pt>
                <c:pt idx="12">
                  <c:v>2.31</c:v>
                </c:pt>
                <c:pt idx="13">
                  <c:v>2.3</c:v>
                </c:pt>
                <c:pt idx="14">
                  <c:v>2.29</c:v>
                </c:pt>
                <c:pt idx="15">
                  <c:v>2.25</c:v>
                </c:pt>
                <c:pt idx="16">
                  <c:v>2.03</c:v>
                </c:pt>
                <c:pt idx="17">
                  <c:v>2.3</c:v>
                </c:pt>
                <c:pt idx="18">
                  <c:v>2.28</c:v>
                </c:pt>
                <c:pt idx="19">
                  <c:v>2.29</c:v>
                </c:pt>
                <c:pt idx="20">
                  <c:v>2.27</c:v>
                </c:pt>
                <c:pt idx="21">
                  <c:v>2.25</c:v>
                </c:pt>
                <c:pt idx="22">
                  <c:v>2.27</c:v>
                </c:pt>
                <c:pt idx="23">
                  <c:v>2.26</c:v>
                </c:pt>
                <c:pt idx="24">
                  <c:v>2.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650,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104,6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704,9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650601</c:v>
                </c:pt>
                <c:pt idx="1">
                  <c:v>16493569</c:v>
                </c:pt>
                <c:pt idx="2">
                  <c:v>16341948</c:v>
                </c:pt>
                <c:pt idx="3">
                  <c:v>14998538</c:v>
                </c:pt>
                <c:pt idx="4">
                  <c:v>17544159</c:v>
                </c:pt>
                <c:pt idx="5">
                  <c:v>14541389</c:v>
                </c:pt>
                <c:pt idx="6">
                  <c:v>14295771</c:v>
                </c:pt>
                <c:pt idx="7">
                  <c:v>16604191</c:v>
                </c:pt>
                <c:pt idx="8">
                  <c:v>16439400</c:v>
                </c:pt>
                <c:pt idx="9">
                  <c:v>18455120</c:v>
                </c:pt>
                <c:pt idx="10">
                  <c:v>19466254</c:v>
                </c:pt>
                <c:pt idx="11">
                  <c:v>20296111</c:v>
                </c:pt>
                <c:pt idx="12">
                  <c:v>19670268</c:v>
                </c:pt>
                <c:pt idx="13">
                  <c:v>16104696</c:v>
                </c:pt>
                <c:pt idx="14">
                  <c:v>15846483</c:v>
                </c:pt>
                <c:pt idx="15">
                  <c:v>14802837</c:v>
                </c:pt>
                <c:pt idx="16">
                  <c:v>17427574</c:v>
                </c:pt>
                <c:pt idx="17">
                  <c:v>14399082</c:v>
                </c:pt>
                <c:pt idx="18">
                  <c:v>15511651</c:v>
                </c:pt>
                <c:pt idx="19">
                  <c:v>17609765</c:v>
                </c:pt>
                <c:pt idx="20">
                  <c:v>16874643</c:v>
                </c:pt>
                <c:pt idx="21">
                  <c:v>18609970</c:v>
                </c:pt>
                <c:pt idx="22">
                  <c:v>20178526</c:v>
                </c:pt>
                <c:pt idx="23">
                  <c:v>20192030</c:v>
                </c:pt>
                <c:pt idx="24">
                  <c:v>1970497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6</c:v>
                </c:pt>
                <c:pt idx="1">
                  <c:v>1.43</c:v>
                </c:pt>
                <c:pt idx="2">
                  <c:v>1.4</c:v>
                </c:pt>
                <c:pt idx="3">
                  <c:v>1.37</c:v>
                </c:pt>
                <c:pt idx="4">
                  <c:v>1.39</c:v>
                </c:pt>
                <c:pt idx="5">
                  <c:v>1.38</c:v>
                </c:pt>
                <c:pt idx="6">
                  <c:v>1.42</c:v>
                </c:pt>
                <c:pt idx="7">
                  <c:v>1.44</c:v>
                </c:pt>
                <c:pt idx="8">
                  <c:v>1.47</c:v>
                </c:pt>
                <c:pt idx="9">
                  <c:v>1.49</c:v>
                </c:pt>
                <c:pt idx="10">
                  <c:v>1.5</c:v>
                </c:pt>
                <c:pt idx="11">
                  <c:v>1.5</c:v>
                </c:pt>
                <c:pt idx="12">
                  <c:v>1.51</c:v>
                </c:pt>
                <c:pt idx="13">
                  <c:v>1.48</c:v>
                </c:pt>
                <c:pt idx="14">
                  <c:v>1.43</c:v>
                </c:pt>
                <c:pt idx="15">
                  <c:v>1.41</c:v>
                </c:pt>
                <c:pt idx="16">
                  <c:v>1.45</c:v>
                </c:pt>
                <c:pt idx="17">
                  <c:v>1.41</c:v>
                </c:pt>
                <c:pt idx="18">
                  <c:v>1.45</c:v>
                </c:pt>
                <c:pt idx="19">
                  <c:v>1.48</c:v>
                </c:pt>
                <c:pt idx="20">
                  <c:v>1.47</c:v>
                </c:pt>
                <c:pt idx="21">
                  <c:v>1.48</c:v>
                </c:pt>
                <c:pt idx="22">
                  <c:v>1.51</c:v>
                </c:pt>
                <c:pt idx="23">
                  <c:v>1.5</c:v>
                </c:pt>
                <c:pt idx="24">
                  <c:v>1.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91,4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20,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67,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91469</c:v>
                </c:pt>
                <c:pt idx="1">
                  <c:v>1720918</c:v>
                </c:pt>
                <c:pt idx="2">
                  <c:v>1829407</c:v>
                </c:pt>
                <c:pt idx="3">
                  <c:v>1499606</c:v>
                </c:pt>
                <c:pt idx="4">
                  <c:v>1609986</c:v>
                </c:pt>
                <c:pt idx="5">
                  <c:v>1383221</c:v>
                </c:pt>
                <c:pt idx="6">
                  <c:v>1746405</c:v>
                </c:pt>
                <c:pt idx="7">
                  <c:v>2195652</c:v>
                </c:pt>
                <c:pt idx="8">
                  <c:v>2046927</c:v>
                </c:pt>
                <c:pt idx="9">
                  <c:v>2306423</c:v>
                </c:pt>
                <c:pt idx="10">
                  <c:v>2611470</c:v>
                </c:pt>
                <c:pt idx="11">
                  <c:v>2363585</c:v>
                </c:pt>
                <c:pt idx="12">
                  <c:v>1949574</c:v>
                </c:pt>
                <c:pt idx="13">
                  <c:v>1620640</c:v>
                </c:pt>
                <c:pt idx="14">
                  <c:v>1876289</c:v>
                </c:pt>
                <c:pt idx="15">
                  <c:v>1636470</c:v>
                </c:pt>
                <c:pt idx="16">
                  <c:v>1812223</c:v>
                </c:pt>
                <c:pt idx="17">
                  <c:v>1379378</c:v>
                </c:pt>
                <c:pt idx="18">
                  <c:v>1479200</c:v>
                </c:pt>
                <c:pt idx="19">
                  <c:v>1713958</c:v>
                </c:pt>
                <c:pt idx="20">
                  <c:v>2218025</c:v>
                </c:pt>
                <c:pt idx="21">
                  <c:v>2243440</c:v>
                </c:pt>
                <c:pt idx="22">
                  <c:v>2389241</c:v>
                </c:pt>
                <c:pt idx="23">
                  <c:v>2606508</c:v>
                </c:pt>
                <c:pt idx="24">
                  <c:v>33674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3</c:v>
                </c:pt>
                <c:pt idx="1">
                  <c:v>2.42</c:v>
                </c:pt>
                <c:pt idx="2">
                  <c:v>2.28</c:v>
                </c:pt>
                <c:pt idx="3">
                  <c:v>2.01</c:v>
                </c:pt>
                <c:pt idx="4">
                  <c:v>2.37</c:v>
                </c:pt>
                <c:pt idx="5">
                  <c:v>2.25</c:v>
                </c:pt>
                <c:pt idx="6">
                  <c:v>2.06</c:v>
                </c:pt>
                <c:pt idx="7">
                  <c:v>2.31</c:v>
                </c:pt>
                <c:pt idx="8">
                  <c:v>2.34</c:v>
                </c:pt>
                <c:pt idx="9">
                  <c:v>2.27</c:v>
                </c:pt>
                <c:pt idx="10">
                  <c:v>2.35</c:v>
                </c:pt>
                <c:pt idx="11">
                  <c:v>2.46</c:v>
                </c:pt>
                <c:pt idx="12">
                  <c:v>2.56</c:v>
                </c:pt>
                <c:pt idx="13">
                  <c:v>2.61</c:v>
                </c:pt>
                <c:pt idx="14">
                  <c:v>2.4</c:v>
                </c:pt>
                <c:pt idx="15">
                  <c:v>2.4</c:v>
                </c:pt>
                <c:pt idx="16">
                  <c:v>2.57</c:v>
                </c:pt>
                <c:pt idx="17">
                  <c:v>2.5</c:v>
                </c:pt>
                <c:pt idx="18">
                  <c:v>2.49</c:v>
                </c:pt>
                <c:pt idx="19">
                  <c:v>2.63</c:v>
                </c:pt>
                <c:pt idx="20">
                  <c:v>2.32</c:v>
                </c:pt>
                <c:pt idx="21">
                  <c:v>2.36</c:v>
                </c:pt>
                <c:pt idx="22">
                  <c:v>2.54</c:v>
                </c:pt>
                <c:pt idx="23">
                  <c:v>2.52</c:v>
                </c:pt>
                <c:pt idx="24">
                  <c:v>2.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36,8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95,5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57,5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36808</c:v>
                </c:pt>
                <c:pt idx="1">
                  <c:v>2071289</c:v>
                </c:pt>
                <c:pt idx="2">
                  <c:v>2509838</c:v>
                </c:pt>
                <c:pt idx="3">
                  <c:v>3052216</c:v>
                </c:pt>
                <c:pt idx="4">
                  <c:v>3538571</c:v>
                </c:pt>
                <c:pt idx="5">
                  <c:v>2024929</c:v>
                </c:pt>
                <c:pt idx="6">
                  <c:v>1931232</c:v>
                </c:pt>
                <c:pt idx="7">
                  <c:v>2357786</c:v>
                </c:pt>
                <c:pt idx="8">
                  <c:v>2203738</c:v>
                </c:pt>
                <c:pt idx="9">
                  <c:v>2220479</c:v>
                </c:pt>
                <c:pt idx="10">
                  <c:v>2213437</c:v>
                </c:pt>
                <c:pt idx="11">
                  <c:v>2337711</c:v>
                </c:pt>
                <c:pt idx="12">
                  <c:v>2430961</c:v>
                </c:pt>
                <c:pt idx="13">
                  <c:v>2195567</c:v>
                </c:pt>
                <c:pt idx="14">
                  <c:v>2558920</c:v>
                </c:pt>
                <c:pt idx="15">
                  <c:v>3467184</c:v>
                </c:pt>
                <c:pt idx="16">
                  <c:v>7051501</c:v>
                </c:pt>
                <c:pt idx="17">
                  <c:v>2245670</c:v>
                </c:pt>
                <c:pt idx="18">
                  <c:v>2147238</c:v>
                </c:pt>
                <c:pt idx="19">
                  <c:v>2293708</c:v>
                </c:pt>
                <c:pt idx="20">
                  <c:v>2158893</c:v>
                </c:pt>
                <c:pt idx="21">
                  <c:v>2308806</c:v>
                </c:pt>
                <c:pt idx="22">
                  <c:v>2339689</c:v>
                </c:pt>
                <c:pt idx="23">
                  <c:v>2411671</c:v>
                </c:pt>
                <c:pt idx="24">
                  <c:v>23575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9</c:v>
                </c:pt>
                <c:pt idx="1">
                  <c:v>1.88</c:v>
                </c:pt>
                <c:pt idx="2">
                  <c:v>1.81</c:v>
                </c:pt>
                <c:pt idx="3">
                  <c:v>1.78</c:v>
                </c:pt>
                <c:pt idx="4">
                  <c:v>1.79</c:v>
                </c:pt>
                <c:pt idx="5">
                  <c:v>1.85</c:v>
                </c:pt>
                <c:pt idx="6">
                  <c:v>1.93</c:v>
                </c:pt>
                <c:pt idx="7">
                  <c:v>1.96</c:v>
                </c:pt>
                <c:pt idx="8">
                  <c:v>1.98</c:v>
                </c:pt>
                <c:pt idx="9">
                  <c:v>1.98</c:v>
                </c:pt>
                <c:pt idx="10">
                  <c:v>2.0</c:v>
                </c:pt>
                <c:pt idx="11">
                  <c:v>1.96</c:v>
                </c:pt>
                <c:pt idx="12">
                  <c:v>1.94</c:v>
                </c:pt>
                <c:pt idx="13">
                  <c:v>1.93</c:v>
                </c:pt>
                <c:pt idx="14">
                  <c:v>2.02</c:v>
                </c:pt>
                <c:pt idx="15">
                  <c:v>2.31</c:v>
                </c:pt>
                <c:pt idx="16">
                  <c:v>2.5</c:v>
                </c:pt>
                <c:pt idx="17">
                  <c:v>1.88</c:v>
                </c:pt>
                <c:pt idx="18">
                  <c:v>1.92</c:v>
                </c:pt>
                <c:pt idx="19">
                  <c:v>1.95</c:v>
                </c:pt>
                <c:pt idx="20">
                  <c:v>1.93</c:v>
                </c:pt>
                <c:pt idx="21">
                  <c:v>1.94</c:v>
                </c:pt>
                <c:pt idx="22">
                  <c:v>1.97</c:v>
                </c:pt>
                <c:pt idx="23">
                  <c:v>1.94</c:v>
                </c:pt>
                <c:pt idx="24">
                  <c:v>1.9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73,7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374,4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322,5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673748</c:v>
                </c:pt>
                <c:pt idx="1">
                  <c:v>5567164</c:v>
                </c:pt>
                <c:pt idx="2">
                  <c:v>5308287</c:v>
                </c:pt>
                <c:pt idx="3">
                  <c:v>4991079</c:v>
                </c:pt>
                <c:pt idx="4">
                  <c:v>6366653</c:v>
                </c:pt>
                <c:pt idx="5">
                  <c:v>4707952</c:v>
                </c:pt>
                <c:pt idx="6">
                  <c:v>4772251</c:v>
                </c:pt>
                <c:pt idx="7">
                  <c:v>5652731</c:v>
                </c:pt>
                <c:pt idx="8">
                  <c:v>5557356</c:v>
                </c:pt>
                <c:pt idx="9">
                  <c:v>6302431</c:v>
                </c:pt>
                <c:pt idx="10">
                  <c:v>6679607</c:v>
                </c:pt>
                <c:pt idx="11">
                  <c:v>6784731</c:v>
                </c:pt>
                <c:pt idx="12">
                  <c:v>6304383</c:v>
                </c:pt>
                <c:pt idx="13">
                  <c:v>5374478</c:v>
                </c:pt>
                <c:pt idx="14">
                  <c:v>5310227</c:v>
                </c:pt>
                <c:pt idx="15">
                  <c:v>5066633</c:v>
                </c:pt>
                <c:pt idx="16">
                  <c:v>6469996</c:v>
                </c:pt>
                <c:pt idx="17">
                  <c:v>4742465</c:v>
                </c:pt>
                <c:pt idx="18">
                  <c:v>4697738</c:v>
                </c:pt>
                <c:pt idx="19">
                  <c:v>5472569</c:v>
                </c:pt>
                <c:pt idx="20">
                  <c:v>5297420</c:v>
                </c:pt>
                <c:pt idx="21">
                  <c:v>6013292</c:v>
                </c:pt>
                <c:pt idx="22">
                  <c:v>6490044</c:v>
                </c:pt>
                <c:pt idx="23">
                  <c:v>6801086</c:v>
                </c:pt>
                <c:pt idx="24">
                  <c:v>632253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2</c:v>
                </c:pt>
                <c:pt idx="1">
                  <c:v>2.29</c:v>
                </c:pt>
                <c:pt idx="2">
                  <c:v>2.27</c:v>
                </c:pt>
                <c:pt idx="3">
                  <c:v>2.19</c:v>
                </c:pt>
                <c:pt idx="4">
                  <c:v>2.08</c:v>
                </c:pt>
                <c:pt idx="5">
                  <c:v>2.33</c:v>
                </c:pt>
                <c:pt idx="6">
                  <c:v>2.5</c:v>
                </c:pt>
                <c:pt idx="7">
                  <c:v>2.56</c:v>
                </c:pt>
                <c:pt idx="8">
                  <c:v>2.57</c:v>
                </c:pt>
                <c:pt idx="9">
                  <c:v>2.63</c:v>
                </c:pt>
                <c:pt idx="10">
                  <c:v>2.59</c:v>
                </c:pt>
                <c:pt idx="11">
                  <c:v>2.61</c:v>
                </c:pt>
                <c:pt idx="12">
                  <c:v>2.61</c:v>
                </c:pt>
                <c:pt idx="13">
                  <c:v>2.61</c:v>
                </c:pt>
                <c:pt idx="14">
                  <c:v>2.53</c:v>
                </c:pt>
                <c:pt idx="15">
                  <c:v>2.39</c:v>
                </c:pt>
                <c:pt idx="16">
                  <c:v>2.24</c:v>
                </c:pt>
                <c:pt idx="17">
                  <c:v>2.45</c:v>
                </c:pt>
                <c:pt idx="18">
                  <c:v>2.51</c:v>
                </c:pt>
                <c:pt idx="19">
                  <c:v>2.55</c:v>
                </c:pt>
                <c:pt idx="20">
                  <c:v>2.51</c:v>
                </c:pt>
                <c:pt idx="21">
                  <c:v>2.51</c:v>
                </c:pt>
                <c:pt idx="22">
                  <c:v>2.54</c:v>
                </c:pt>
                <c:pt idx="23">
                  <c:v>2.51</c:v>
                </c:pt>
                <c:pt idx="24">
                  <c:v>2.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7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0,6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6,4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0738</c:v>
                </c:pt>
                <c:pt idx="1">
                  <c:v>77209</c:v>
                </c:pt>
                <c:pt idx="2">
                  <c:v>65247</c:v>
                </c:pt>
                <c:pt idx="3">
                  <c:v>96961</c:v>
                </c:pt>
                <c:pt idx="4">
                  <c:v>83173</c:v>
                </c:pt>
                <c:pt idx="5">
                  <c:v>68835</c:v>
                </c:pt>
                <c:pt idx="6">
                  <c:v>89267</c:v>
                </c:pt>
                <c:pt idx="7">
                  <c:v>114531</c:v>
                </c:pt>
                <c:pt idx="8">
                  <c:v>100969</c:v>
                </c:pt>
                <c:pt idx="9">
                  <c:v>103375</c:v>
                </c:pt>
                <c:pt idx="10">
                  <c:v>118817</c:v>
                </c:pt>
                <c:pt idx="11">
                  <c:v>147066</c:v>
                </c:pt>
                <c:pt idx="12">
                  <c:v>109639</c:v>
                </c:pt>
                <c:pt idx="13">
                  <c:v>80642</c:v>
                </c:pt>
                <c:pt idx="14">
                  <c:v>84441</c:v>
                </c:pt>
                <c:pt idx="15">
                  <c:v>59981</c:v>
                </c:pt>
                <c:pt idx="16">
                  <c:v>56514</c:v>
                </c:pt>
                <c:pt idx="17">
                  <c:v>71152</c:v>
                </c:pt>
                <c:pt idx="18">
                  <c:v>78970</c:v>
                </c:pt>
                <c:pt idx="19">
                  <c:v>80553</c:v>
                </c:pt>
                <c:pt idx="20">
                  <c:v>56804</c:v>
                </c:pt>
                <c:pt idx="21">
                  <c:v>57188</c:v>
                </c:pt>
                <c:pt idx="22">
                  <c:v>100871</c:v>
                </c:pt>
                <c:pt idx="23">
                  <c:v>91121</c:v>
                </c:pt>
                <c:pt idx="24">
                  <c:v>564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6</c:v>
                </c:pt>
                <c:pt idx="1">
                  <c:v>3.3</c:v>
                </c:pt>
                <c:pt idx="2">
                  <c:v>3.29</c:v>
                </c:pt>
                <c:pt idx="3">
                  <c:v>3.19</c:v>
                </c:pt>
                <c:pt idx="4">
                  <c:v>3.27</c:v>
                </c:pt>
                <c:pt idx="5">
                  <c:v>3.16</c:v>
                </c:pt>
                <c:pt idx="6">
                  <c:v>3.11</c:v>
                </c:pt>
                <c:pt idx="7">
                  <c:v>2.78</c:v>
                </c:pt>
                <c:pt idx="8">
                  <c:v>2.65</c:v>
                </c:pt>
                <c:pt idx="9">
                  <c:v>2.7</c:v>
                </c:pt>
                <c:pt idx="10">
                  <c:v>2.64</c:v>
                </c:pt>
                <c:pt idx="11">
                  <c:v>2.72</c:v>
                </c:pt>
                <c:pt idx="12">
                  <c:v>2.69</c:v>
                </c:pt>
                <c:pt idx="13">
                  <c:v>2.69</c:v>
                </c:pt>
                <c:pt idx="14">
                  <c:v>2.85</c:v>
                </c:pt>
                <c:pt idx="15">
                  <c:v>2.9</c:v>
                </c:pt>
                <c:pt idx="16">
                  <c:v>2.84</c:v>
                </c:pt>
                <c:pt idx="17">
                  <c:v>2.81</c:v>
                </c:pt>
                <c:pt idx="18">
                  <c:v>2.78</c:v>
                </c:pt>
                <c:pt idx="19">
                  <c:v>2.68</c:v>
                </c:pt>
                <c:pt idx="20">
                  <c:v>2.96</c:v>
                </c:pt>
                <c:pt idx="21">
                  <c:v>2.88</c:v>
                </c:pt>
                <c:pt idx="22">
                  <c:v>3.05</c:v>
                </c:pt>
                <c:pt idx="23">
                  <c:v>3.36</c:v>
                </c:pt>
                <c:pt idx="24">
                  <c:v>3.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32,2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05,8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15,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32241</c:v>
                </c:pt>
                <c:pt idx="1">
                  <c:v>858361</c:v>
                </c:pt>
                <c:pt idx="2">
                  <c:v>830277</c:v>
                </c:pt>
                <c:pt idx="3">
                  <c:v>844823</c:v>
                </c:pt>
                <c:pt idx="4">
                  <c:v>901213</c:v>
                </c:pt>
                <c:pt idx="5">
                  <c:v>966092</c:v>
                </c:pt>
                <c:pt idx="6">
                  <c:v>898865</c:v>
                </c:pt>
                <c:pt idx="7">
                  <c:v>878241</c:v>
                </c:pt>
                <c:pt idx="8">
                  <c:v>884093</c:v>
                </c:pt>
                <c:pt idx="9">
                  <c:v>1007540</c:v>
                </c:pt>
                <c:pt idx="10">
                  <c:v>1167542</c:v>
                </c:pt>
                <c:pt idx="11">
                  <c:v>1250830</c:v>
                </c:pt>
                <c:pt idx="12">
                  <c:v>1228389</c:v>
                </c:pt>
                <c:pt idx="13">
                  <c:v>1105814</c:v>
                </c:pt>
                <c:pt idx="14">
                  <c:v>1181084</c:v>
                </c:pt>
                <c:pt idx="15">
                  <c:v>1056401</c:v>
                </c:pt>
                <c:pt idx="16">
                  <c:v>1019893</c:v>
                </c:pt>
                <c:pt idx="17">
                  <c:v>1023486</c:v>
                </c:pt>
                <c:pt idx="18">
                  <c:v>1112216</c:v>
                </c:pt>
                <c:pt idx="19">
                  <c:v>1492642</c:v>
                </c:pt>
                <c:pt idx="20">
                  <c:v>1544677</c:v>
                </c:pt>
                <c:pt idx="21">
                  <c:v>1423238</c:v>
                </c:pt>
                <c:pt idx="22">
                  <c:v>1420612</c:v>
                </c:pt>
                <c:pt idx="23">
                  <c:v>1474668</c:v>
                </c:pt>
                <c:pt idx="24">
                  <c:v>13156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1</c:v>
                </c:pt>
                <c:pt idx="1">
                  <c:v>2.93</c:v>
                </c:pt>
                <c:pt idx="2">
                  <c:v>2.88</c:v>
                </c:pt>
                <c:pt idx="3">
                  <c:v>2.91</c:v>
                </c:pt>
                <c:pt idx="4">
                  <c:v>2.91</c:v>
                </c:pt>
                <c:pt idx="5">
                  <c:v>3.1</c:v>
                </c:pt>
                <c:pt idx="6">
                  <c:v>2.99</c:v>
                </c:pt>
                <c:pt idx="7">
                  <c:v>3.01</c:v>
                </c:pt>
                <c:pt idx="8">
                  <c:v>3.02</c:v>
                </c:pt>
                <c:pt idx="9">
                  <c:v>2.88</c:v>
                </c:pt>
                <c:pt idx="10">
                  <c:v>2.67</c:v>
                </c:pt>
                <c:pt idx="11">
                  <c:v>2.89</c:v>
                </c:pt>
                <c:pt idx="12">
                  <c:v>3.07</c:v>
                </c:pt>
                <c:pt idx="13">
                  <c:v>2.81</c:v>
                </c:pt>
                <c:pt idx="14">
                  <c:v>2.52</c:v>
                </c:pt>
                <c:pt idx="15">
                  <c:v>2.47</c:v>
                </c:pt>
                <c:pt idx="16">
                  <c:v>2.63</c:v>
                </c:pt>
                <c:pt idx="17">
                  <c:v>2.67</c:v>
                </c:pt>
                <c:pt idx="18">
                  <c:v>2.6</c:v>
                </c:pt>
                <c:pt idx="19">
                  <c:v>2.42</c:v>
                </c:pt>
                <c:pt idx="20">
                  <c:v>2.49</c:v>
                </c:pt>
                <c:pt idx="21">
                  <c:v>2.67</c:v>
                </c:pt>
                <c:pt idx="22">
                  <c:v>2.71</c:v>
                </c:pt>
                <c:pt idx="23">
                  <c:v>2.62</c:v>
                </c:pt>
                <c:pt idx="24">
                  <c:v>2.7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4,1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53,8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60,1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04191</c:v>
                </c:pt>
                <c:pt idx="1">
                  <c:v>660197</c:v>
                </c:pt>
                <c:pt idx="2">
                  <c:v>655899</c:v>
                </c:pt>
                <c:pt idx="3">
                  <c:v>611203</c:v>
                </c:pt>
                <c:pt idx="4">
                  <c:v>640122</c:v>
                </c:pt>
                <c:pt idx="5">
                  <c:v>691277</c:v>
                </c:pt>
                <c:pt idx="6">
                  <c:v>670319</c:v>
                </c:pt>
                <c:pt idx="7">
                  <c:v>749349</c:v>
                </c:pt>
                <c:pt idx="8">
                  <c:v>709852</c:v>
                </c:pt>
                <c:pt idx="9">
                  <c:v>813028</c:v>
                </c:pt>
                <c:pt idx="10">
                  <c:v>812811</c:v>
                </c:pt>
                <c:pt idx="11">
                  <c:v>949288</c:v>
                </c:pt>
                <c:pt idx="12">
                  <c:v>851856</c:v>
                </c:pt>
                <c:pt idx="13">
                  <c:v>653884</c:v>
                </c:pt>
                <c:pt idx="14">
                  <c:v>640235</c:v>
                </c:pt>
                <c:pt idx="15">
                  <c:v>674959</c:v>
                </c:pt>
                <c:pt idx="16">
                  <c:v>757003</c:v>
                </c:pt>
                <c:pt idx="17">
                  <c:v>763970</c:v>
                </c:pt>
                <c:pt idx="18">
                  <c:v>800168</c:v>
                </c:pt>
                <c:pt idx="19">
                  <c:v>788548</c:v>
                </c:pt>
                <c:pt idx="20">
                  <c:v>788952</c:v>
                </c:pt>
                <c:pt idx="21">
                  <c:v>820939</c:v>
                </c:pt>
                <c:pt idx="22">
                  <c:v>757786</c:v>
                </c:pt>
                <c:pt idx="23">
                  <c:v>745228</c:v>
                </c:pt>
                <c:pt idx="24">
                  <c:v>76016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1</c:v>
                </c:pt>
                <c:pt idx="1">
                  <c:v>2.58</c:v>
                </c:pt>
                <c:pt idx="2">
                  <c:v>2.61</c:v>
                </c:pt>
                <c:pt idx="3">
                  <c:v>2.59</c:v>
                </c:pt>
                <c:pt idx="4">
                  <c:v>2.73</c:v>
                </c:pt>
                <c:pt idx="5">
                  <c:v>2.74</c:v>
                </c:pt>
                <c:pt idx="6">
                  <c:v>2.73</c:v>
                </c:pt>
                <c:pt idx="7">
                  <c:v>2.49</c:v>
                </c:pt>
                <c:pt idx="8">
                  <c:v>2.5</c:v>
                </c:pt>
                <c:pt idx="9">
                  <c:v>2.41</c:v>
                </c:pt>
                <c:pt idx="10">
                  <c:v>2.42</c:v>
                </c:pt>
                <c:pt idx="11">
                  <c:v>2.36</c:v>
                </c:pt>
                <c:pt idx="12">
                  <c:v>2.3</c:v>
                </c:pt>
                <c:pt idx="13">
                  <c:v>2.11</c:v>
                </c:pt>
                <c:pt idx="14">
                  <c:v>2.07</c:v>
                </c:pt>
                <c:pt idx="15">
                  <c:v>2.11</c:v>
                </c:pt>
                <c:pt idx="16">
                  <c:v>2.22</c:v>
                </c:pt>
                <c:pt idx="17">
                  <c:v>2.16</c:v>
                </c:pt>
                <c:pt idx="18">
                  <c:v>2.26</c:v>
                </c:pt>
                <c:pt idx="19">
                  <c:v>2.44</c:v>
                </c:pt>
                <c:pt idx="20">
                  <c:v>2.33</c:v>
                </c:pt>
                <c:pt idx="21">
                  <c:v>2.31</c:v>
                </c:pt>
                <c:pt idx="22">
                  <c:v>2.41</c:v>
                </c:pt>
                <c:pt idx="23">
                  <c:v>2.46</c:v>
                </c:pt>
                <c:pt idx="24">
                  <c:v>2.5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76,3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778,1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472,4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876386</c:v>
                </c:pt>
                <c:pt idx="1">
                  <c:v>2165194</c:v>
                </c:pt>
                <c:pt idx="2">
                  <c:v>2141244</c:v>
                </c:pt>
                <c:pt idx="3">
                  <c:v>1863872</c:v>
                </c:pt>
                <c:pt idx="4">
                  <c:v>2364127</c:v>
                </c:pt>
                <c:pt idx="5">
                  <c:v>2360829</c:v>
                </c:pt>
                <c:pt idx="6">
                  <c:v>2467456</c:v>
                </c:pt>
                <c:pt idx="7">
                  <c:v>3782432</c:v>
                </c:pt>
                <c:pt idx="8">
                  <c:v>4235008</c:v>
                </c:pt>
                <c:pt idx="9">
                  <c:v>4930698</c:v>
                </c:pt>
                <c:pt idx="10">
                  <c:v>5478950</c:v>
                </c:pt>
                <c:pt idx="11">
                  <c:v>6151193</c:v>
                </c:pt>
                <c:pt idx="12">
                  <c:v>5731044</c:v>
                </c:pt>
                <c:pt idx="13">
                  <c:v>4778185</c:v>
                </c:pt>
                <c:pt idx="14">
                  <c:v>4512012</c:v>
                </c:pt>
                <c:pt idx="15">
                  <c:v>4103187</c:v>
                </c:pt>
                <c:pt idx="16">
                  <c:v>5042922</c:v>
                </c:pt>
                <c:pt idx="17">
                  <c:v>4471011</c:v>
                </c:pt>
                <c:pt idx="18">
                  <c:v>4528568</c:v>
                </c:pt>
                <c:pt idx="19">
                  <c:v>5801832</c:v>
                </c:pt>
                <c:pt idx="20">
                  <c:v>5509250</c:v>
                </c:pt>
                <c:pt idx="21">
                  <c:v>6390361</c:v>
                </c:pt>
                <c:pt idx="22">
                  <c:v>6856224</c:v>
                </c:pt>
                <c:pt idx="23">
                  <c:v>7108300</c:v>
                </c:pt>
                <c:pt idx="24">
                  <c:v>747240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7</c:v>
                </c:pt>
                <c:pt idx="1">
                  <c:v>3.5</c:v>
                </c:pt>
                <c:pt idx="2">
                  <c:v>3.32</c:v>
                </c:pt>
                <c:pt idx="3">
                  <c:v>3.34</c:v>
                </c:pt>
                <c:pt idx="4">
                  <c:v>3.4</c:v>
                </c:pt>
                <c:pt idx="5">
                  <c:v>3.28</c:v>
                </c:pt>
                <c:pt idx="6">
                  <c:v>3.15</c:v>
                </c:pt>
                <c:pt idx="7">
                  <c:v>3.26</c:v>
                </c:pt>
                <c:pt idx="8">
                  <c:v>3.31</c:v>
                </c:pt>
                <c:pt idx="9">
                  <c:v>3.26</c:v>
                </c:pt>
                <c:pt idx="10">
                  <c:v>3.21</c:v>
                </c:pt>
                <c:pt idx="11">
                  <c:v>3.15</c:v>
                </c:pt>
                <c:pt idx="12">
                  <c:v>3.03</c:v>
                </c:pt>
                <c:pt idx="13">
                  <c:v>2.92</c:v>
                </c:pt>
                <c:pt idx="14">
                  <c:v>2.93</c:v>
                </c:pt>
                <c:pt idx="15">
                  <c:v>2.87</c:v>
                </c:pt>
                <c:pt idx="16">
                  <c:v>2.86</c:v>
                </c:pt>
                <c:pt idx="17">
                  <c:v>2.76</c:v>
                </c:pt>
                <c:pt idx="18">
                  <c:v>2.75</c:v>
                </c:pt>
                <c:pt idx="19">
                  <c:v>2.84</c:v>
                </c:pt>
                <c:pt idx="20">
                  <c:v>2.81</c:v>
                </c:pt>
                <c:pt idx="21">
                  <c:v>2.84</c:v>
                </c:pt>
                <c:pt idx="22">
                  <c:v>2.83</c:v>
                </c:pt>
                <c:pt idx="23">
                  <c:v>2.73</c:v>
                </c:pt>
                <c:pt idx="24">
                  <c:v>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166,0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02,5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31,7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166004</c:v>
                </c:pt>
                <c:pt idx="1">
                  <c:v>7172155</c:v>
                </c:pt>
                <c:pt idx="2">
                  <c:v>7085847</c:v>
                </c:pt>
                <c:pt idx="3">
                  <c:v>6954277</c:v>
                </c:pt>
                <c:pt idx="4">
                  <c:v>9388423</c:v>
                </c:pt>
                <c:pt idx="5">
                  <c:v>7148381</c:v>
                </c:pt>
                <c:pt idx="6">
                  <c:v>7095200</c:v>
                </c:pt>
                <c:pt idx="7">
                  <c:v>8572633</c:v>
                </c:pt>
                <c:pt idx="8">
                  <c:v>7947834</c:v>
                </c:pt>
                <c:pt idx="9">
                  <c:v>8451105</c:v>
                </c:pt>
                <c:pt idx="10">
                  <c:v>8574278</c:v>
                </c:pt>
                <c:pt idx="11">
                  <c:v>8987235</c:v>
                </c:pt>
                <c:pt idx="12">
                  <c:v>8370299</c:v>
                </c:pt>
                <c:pt idx="13">
                  <c:v>7202581</c:v>
                </c:pt>
                <c:pt idx="14">
                  <c:v>7308455</c:v>
                </c:pt>
                <c:pt idx="15">
                  <c:v>6896936</c:v>
                </c:pt>
                <c:pt idx="16">
                  <c:v>8513595</c:v>
                </c:pt>
                <c:pt idx="17">
                  <c:v>6340888</c:v>
                </c:pt>
                <c:pt idx="18">
                  <c:v>6123541</c:v>
                </c:pt>
                <c:pt idx="19">
                  <c:v>6983863</c:v>
                </c:pt>
                <c:pt idx="20">
                  <c:v>6394168</c:v>
                </c:pt>
                <c:pt idx="21">
                  <c:v>7001157</c:v>
                </c:pt>
                <c:pt idx="22">
                  <c:v>7231936</c:v>
                </c:pt>
                <c:pt idx="23">
                  <c:v>7611882</c:v>
                </c:pt>
                <c:pt idx="24">
                  <c:v>703172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8</c:v>
                </c:pt>
                <c:pt idx="1">
                  <c:v>3.56</c:v>
                </c:pt>
                <c:pt idx="2">
                  <c:v>3.42</c:v>
                </c:pt>
                <c:pt idx="3">
                  <c:v>3.16</c:v>
                </c:pt>
                <c:pt idx="4">
                  <c:v>2.68</c:v>
                </c:pt>
                <c:pt idx="5">
                  <c:v>3.34</c:v>
                </c:pt>
                <c:pt idx="6">
                  <c:v>3.29</c:v>
                </c:pt>
                <c:pt idx="7">
                  <c:v>3.46</c:v>
                </c:pt>
                <c:pt idx="8">
                  <c:v>3.47</c:v>
                </c:pt>
                <c:pt idx="9">
                  <c:v>3.53</c:v>
                </c:pt>
                <c:pt idx="10">
                  <c:v>3.62</c:v>
                </c:pt>
                <c:pt idx="11">
                  <c:v>3.61</c:v>
                </c:pt>
                <c:pt idx="12">
                  <c:v>3.52</c:v>
                </c:pt>
                <c:pt idx="13">
                  <c:v>3.5</c:v>
                </c:pt>
                <c:pt idx="14">
                  <c:v>3.4</c:v>
                </c:pt>
                <c:pt idx="15">
                  <c:v>3.4</c:v>
                </c:pt>
                <c:pt idx="16">
                  <c:v>3.28</c:v>
                </c:pt>
                <c:pt idx="17">
                  <c:v>3.39</c:v>
                </c:pt>
                <c:pt idx="18">
                  <c:v>3.47</c:v>
                </c:pt>
                <c:pt idx="19">
                  <c:v>3.41</c:v>
                </c:pt>
                <c:pt idx="20">
                  <c:v>3.44</c:v>
                </c:pt>
                <c:pt idx="21">
                  <c:v>3.38</c:v>
                </c:pt>
                <c:pt idx="22">
                  <c:v>3.41</c:v>
                </c:pt>
                <c:pt idx="23">
                  <c:v>3.38</c:v>
                </c:pt>
                <c:pt idx="24">
                  <c:v>3.3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826,1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72,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069,9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826110</c:v>
                </c:pt>
                <c:pt idx="1">
                  <c:v>7586023</c:v>
                </c:pt>
                <c:pt idx="2">
                  <c:v>7722500</c:v>
                </c:pt>
                <c:pt idx="3">
                  <c:v>7828836</c:v>
                </c:pt>
                <c:pt idx="4">
                  <c:v>8379622</c:v>
                </c:pt>
                <c:pt idx="5">
                  <c:v>6751326</c:v>
                </c:pt>
                <c:pt idx="6">
                  <c:v>6807799</c:v>
                </c:pt>
                <c:pt idx="7">
                  <c:v>8356766</c:v>
                </c:pt>
                <c:pt idx="8">
                  <c:v>8196737</c:v>
                </c:pt>
                <c:pt idx="9">
                  <c:v>8717720</c:v>
                </c:pt>
                <c:pt idx="10">
                  <c:v>9102488</c:v>
                </c:pt>
                <c:pt idx="11">
                  <c:v>9285794</c:v>
                </c:pt>
                <c:pt idx="12">
                  <c:v>8710778</c:v>
                </c:pt>
                <c:pt idx="13">
                  <c:v>7272779</c:v>
                </c:pt>
                <c:pt idx="14">
                  <c:v>7291330</c:v>
                </c:pt>
                <c:pt idx="15">
                  <c:v>6931884</c:v>
                </c:pt>
                <c:pt idx="16">
                  <c:v>8700862</c:v>
                </c:pt>
                <c:pt idx="17">
                  <c:v>6058124</c:v>
                </c:pt>
                <c:pt idx="18">
                  <c:v>6201746</c:v>
                </c:pt>
                <c:pt idx="19">
                  <c:v>7280547</c:v>
                </c:pt>
                <c:pt idx="20">
                  <c:v>7043286</c:v>
                </c:pt>
                <c:pt idx="21">
                  <c:v>7515158</c:v>
                </c:pt>
                <c:pt idx="22">
                  <c:v>7996800</c:v>
                </c:pt>
                <c:pt idx="23">
                  <c:v>8405242</c:v>
                </c:pt>
                <c:pt idx="24">
                  <c:v>80699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04</c:v>
                </c:pt>
                <c:pt idx="1">
                  <c:v>4.08</c:v>
                </c:pt>
                <c:pt idx="2">
                  <c:v>4.01</c:v>
                </c:pt>
                <c:pt idx="3">
                  <c:v>3.83</c:v>
                </c:pt>
                <c:pt idx="4">
                  <c:v>3.83</c:v>
                </c:pt>
                <c:pt idx="5">
                  <c:v>4.01</c:v>
                </c:pt>
                <c:pt idx="6">
                  <c:v>4.08</c:v>
                </c:pt>
                <c:pt idx="7">
                  <c:v>4.14</c:v>
                </c:pt>
                <c:pt idx="8">
                  <c:v>4.16</c:v>
                </c:pt>
                <c:pt idx="9">
                  <c:v>4.22</c:v>
                </c:pt>
                <c:pt idx="10">
                  <c:v>4.26</c:v>
                </c:pt>
                <c:pt idx="11">
                  <c:v>4.26</c:v>
                </c:pt>
                <c:pt idx="12">
                  <c:v>4.16</c:v>
                </c:pt>
                <c:pt idx="13">
                  <c:v>4.13</c:v>
                </c:pt>
                <c:pt idx="14">
                  <c:v>3.97</c:v>
                </c:pt>
                <c:pt idx="15">
                  <c:v>3.84</c:v>
                </c:pt>
                <c:pt idx="16">
                  <c:v>3.45</c:v>
                </c:pt>
                <c:pt idx="17">
                  <c:v>3.84</c:v>
                </c:pt>
                <c:pt idx="18">
                  <c:v>3.97</c:v>
                </c:pt>
                <c:pt idx="19">
                  <c:v>4.0</c:v>
                </c:pt>
                <c:pt idx="20">
                  <c:v>3.96</c:v>
                </c:pt>
                <c:pt idx="21">
                  <c:v>3.98</c:v>
                </c:pt>
                <c:pt idx="22">
                  <c:v>4.06</c:v>
                </c:pt>
                <c:pt idx="23">
                  <c:v>4.06</c:v>
                </c:pt>
                <c:pt idx="24">
                  <c:v>4.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24,8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99,3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14,9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24818</c:v>
                </c:pt>
                <c:pt idx="1">
                  <c:v>1721701</c:v>
                </c:pt>
                <c:pt idx="2">
                  <c:v>2492459</c:v>
                </c:pt>
                <c:pt idx="3">
                  <c:v>2266092</c:v>
                </c:pt>
                <c:pt idx="4">
                  <c:v>2606751</c:v>
                </c:pt>
                <c:pt idx="5">
                  <c:v>1356840</c:v>
                </c:pt>
                <c:pt idx="6">
                  <c:v>1918791</c:v>
                </c:pt>
                <c:pt idx="7">
                  <c:v>2341518</c:v>
                </c:pt>
                <c:pt idx="8">
                  <c:v>1973270</c:v>
                </c:pt>
                <c:pt idx="9">
                  <c:v>1747869</c:v>
                </c:pt>
                <c:pt idx="10">
                  <c:v>2743075</c:v>
                </c:pt>
                <c:pt idx="11">
                  <c:v>2161482</c:v>
                </c:pt>
                <c:pt idx="12">
                  <c:v>1783528</c:v>
                </c:pt>
                <c:pt idx="13">
                  <c:v>1499300</c:v>
                </c:pt>
                <c:pt idx="14">
                  <c:v>2359923</c:v>
                </c:pt>
                <c:pt idx="15">
                  <c:v>1988819</c:v>
                </c:pt>
                <c:pt idx="16">
                  <c:v>3261444</c:v>
                </c:pt>
                <c:pt idx="17">
                  <c:v>1074873</c:v>
                </c:pt>
                <c:pt idx="18">
                  <c:v>1175600</c:v>
                </c:pt>
                <c:pt idx="19">
                  <c:v>1502130</c:v>
                </c:pt>
                <c:pt idx="20">
                  <c:v>1569925</c:v>
                </c:pt>
                <c:pt idx="21">
                  <c:v>1638981</c:v>
                </c:pt>
                <c:pt idx="22">
                  <c:v>2104472</c:v>
                </c:pt>
                <c:pt idx="23">
                  <c:v>2426764</c:v>
                </c:pt>
                <c:pt idx="24">
                  <c:v>191498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3</c:v>
                </c:pt>
                <c:pt idx="1">
                  <c:v>1.59</c:v>
                </c:pt>
                <c:pt idx="2">
                  <c:v>1.5</c:v>
                </c:pt>
                <c:pt idx="3">
                  <c:v>1.32</c:v>
                </c:pt>
                <c:pt idx="4">
                  <c:v>1.24</c:v>
                </c:pt>
                <c:pt idx="5">
                  <c:v>1.5</c:v>
                </c:pt>
                <c:pt idx="6">
                  <c:v>1.58</c:v>
                </c:pt>
                <c:pt idx="7">
                  <c:v>1.56</c:v>
                </c:pt>
                <c:pt idx="8">
                  <c:v>1.63</c:v>
                </c:pt>
                <c:pt idx="9">
                  <c:v>1.69</c:v>
                </c:pt>
                <c:pt idx="10">
                  <c:v>1.75</c:v>
                </c:pt>
                <c:pt idx="11">
                  <c:v>1.74</c:v>
                </c:pt>
                <c:pt idx="12">
                  <c:v>1.7</c:v>
                </c:pt>
                <c:pt idx="13">
                  <c:v>1.71</c:v>
                </c:pt>
                <c:pt idx="14">
                  <c:v>1.68</c:v>
                </c:pt>
                <c:pt idx="15">
                  <c:v>1.58</c:v>
                </c:pt>
                <c:pt idx="16">
                  <c:v>1.37</c:v>
                </c:pt>
                <c:pt idx="17">
                  <c:v>1.6</c:v>
                </c:pt>
                <c:pt idx="18">
                  <c:v>1.6</c:v>
                </c:pt>
                <c:pt idx="19">
                  <c:v>1.61</c:v>
                </c:pt>
                <c:pt idx="20">
                  <c:v>1.6</c:v>
                </c:pt>
                <c:pt idx="21">
                  <c:v>1.59</c:v>
                </c:pt>
                <c:pt idx="22">
                  <c:v>1.58</c:v>
                </c:pt>
                <c:pt idx="23">
                  <c:v>1.55</c:v>
                </c:pt>
                <c:pt idx="24">
                  <c:v>1.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74,4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404,6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072,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74403</c:v>
                </c:pt>
                <c:pt idx="1">
                  <c:v>4061632</c:v>
                </c:pt>
                <c:pt idx="2">
                  <c:v>3879358</c:v>
                </c:pt>
                <c:pt idx="3">
                  <c:v>3511292</c:v>
                </c:pt>
                <c:pt idx="4">
                  <c:v>4214885</c:v>
                </c:pt>
                <c:pt idx="5">
                  <c:v>3744206</c:v>
                </c:pt>
                <c:pt idx="6">
                  <c:v>3759512</c:v>
                </c:pt>
                <c:pt idx="7">
                  <c:v>5253636</c:v>
                </c:pt>
                <c:pt idx="8">
                  <c:v>4689123</c:v>
                </c:pt>
                <c:pt idx="9">
                  <c:v>5734254</c:v>
                </c:pt>
                <c:pt idx="10">
                  <c:v>5651768</c:v>
                </c:pt>
                <c:pt idx="11">
                  <c:v>5474492</c:v>
                </c:pt>
                <c:pt idx="12">
                  <c:v>5066269</c:v>
                </c:pt>
                <c:pt idx="13">
                  <c:v>4404649</c:v>
                </c:pt>
                <c:pt idx="14">
                  <c:v>3916131</c:v>
                </c:pt>
                <c:pt idx="15">
                  <c:v>3577715</c:v>
                </c:pt>
                <c:pt idx="16">
                  <c:v>4191728</c:v>
                </c:pt>
                <c:pt idx="17">
                  <c:v>3535059</c:v>
                </c:pt>
                <c:pt idx="18">
                  <c:v>3536179</c:v>
                </c:pt>
                <c:pt idx="19">
                  <c:v>4090033</c:v>
                </c:pt>
                <c:pt idx="20">
                  <c:v>4204209</c:v>
                </c:pt>
                <c:pt idx="21">
                  <c:v>4654757</c:v>
                </c:pt>
                <c:pt idx="22">
                  <c:v>5100493</c:v>
                </c:pt>
                <c:pt idx="23">
                  <c:v>5300795</c:v>
                </c:pt>
                <c:pt idx="24">
                  <c:v>50722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29</c:v>
                </c:pt>
                <c:pt idx="1">
                  <c:v>5.28</c:v>
                </c:pt>
                <c:pt idx="2">
                  <c:v>5.14</c:v>
                </c:pt>
                <c:pt idx="3">
                  <c:v>5.26</c:v>
                </c:pt>
                <c:pt idx="4">
                  <c:v>5.35</c:v>
                </c:pt>
                <c:pt idx="5">
                  <c:v>5.16</c:v>
                </c:pt>
                <c:pt idx="6">
                  <c:v>5.13</c:v>
                </c:pt>
                <c:pt idx="7">
                  <c:v>5.45</c:v>
                </c:pt>
                <c:pt idx="8">
                  <c:v>5.43</c:v>
                </c:pt>
                <c:pt idx="9">
                  <c:v>5.5</c:v>
                </c:pt>
                <c:pt idx="10">
                  <c:v>5.37</c:v>
                </c:pt>
                <c:pt idx="11">
                  <c:v>5.52</c:v>
                </c:pt>
                <c:pt idx="12">
                  <c:v>5.36</c:v>
                </c:pt>
                <c:pt idx="13">
                  <c:v>5.61</c:v>
                </c:pt>
                <c:pt idx="14">
                  <c:v>5.35</c:v>
                </c:pt>
                <c:pt idx="15">
                  <c:v>5.38</c:v>
                </c:pt>
                <c:pt idx="16">
                  <c:v>5.33</c:v>
                </c:pt>
                <c:pt idx="17">
                  <c:v>5.37</c:v>
                </c:pt>
                <c:pt idx="18">
                  <c:v>5.14</c:v>
                </c:pt>
                <c:pt idx="19">
                  <c:v>5.12</c:v>
                </c:pt>
                <c:pt idx="20">
                  <c:v>5.08</c:v>
                </c:pt>
                <c:pt idx="21">
                  <c:v>4.92</c:v>
                </c:pt>
                <c:pt idx="22">
                  <c:v>4.97</c:v>
                </c:pt>
                <c:pt idx="23">
                  <c:v>5.05</c:v>
                </c:pt>
                <c:pt idx="24">
                  <c:v>4.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8,8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6,4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8,3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8882</c:v>
                </c:pt>
                <c:pt idx="1">
                  <c:v>65437</c:v>
                </c:pt>
                <c:pt idx="2">
                  <c:v>64859</c:v>
                </c:pt>
                <c:pt idx="3">
                  <c:v>45965</c:v>
                </c:pt>
                <c:pt idx="4">
                  <c:v>56171</c:v>
                </c:pt>
                <c:pt idx="5">
                  <c:v>59797</c:v>
                </c:pt>
                <c:pt idx="6">
                  <c:v>76334</c:v>
                </c:pt>
                <c:pt idx="7">
                  <c:v>131843</c:v>
                </c:pt>
                <c:pt idx="8">
                  <c:v>151356</c:v>
                </c:pt>
                <c:pt idx="9">
                  <c:v>192919</c:v>
                </c:pt>
                <c:pt idx="10">
                  <c:v>225851</c:v>
                </c:pt>
                <c:pt idx="11">
                  <c:v>258852</c:v>
                </c:pt>
                <c:pt idx="12">
                  <c:v>264602</c:v>
                </c:pt>
                <c:pt idx="13">
                  <c:v>246456</c:v>
                </c:pt>
                <c:pt idx="14">
                  <c:v>219043</c:v>
                </c:pt>
                <c:pt idx="15">
                  <c:v>240569</c:v>
                </c:pt>
                <c:pt idx="16">
                  <c:v>312484</c:v>
                </c:pt>
                <c:pt idx="17">
                  <c:v>317062</c:v>
                </c:pt>
                <c:pt idx="18">
                  <c:v>363785</c:v>
                </c:pt>
                <c:pt idx="19">
                  <c:v>464547</c:v>
                </c:pt>
                <c:pt idx="20">
                  <c:v>480538</c:v>
                </c:pt>
                <c:pt idx="21">
                  <c:v>564170</c:v>
                </c:pt>
                <c:pt idx="22">
                  <c:v>612323</c:v>
                </c:pt>
                <c:pt idx="23">
                  <c:v>780562</c:v>
                </c:pt>
                <c:pt idx="24">
                  <c:v>7283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6</c:v>
                </c:pt>
                <c:pt idx="1">
                  <c:v>4.65</c:v>
                </c:pt>
                <c:pt idx="2">
                  <c:v>4.26</c:v>
                </c:pt>
                <c:pt idx="3">
                  <c:v>4.26</c:v>
                </c:pt>
                <c:pt idx="4">
                  <c:v>4.55</c:v>
                </c:pt>
                <c:pt idx="5">
                  <c:v>3.89</c:v>
                </c:pt>
                <c:pt idx="6">
                  <c:v>1.35</c:v>
                </c:pt>
                <c:pt idx="7">
                  <c:v>1.28</c:v>
                </c:pt>
                <c:pt idx="8">
                  <c:v>1.27</c:v>
                </c:pt>
                <c:pt idx="9">
                  <c:v>1.24</c:v>
                </c:pt>
                <c:pt idx="10">
                  <c:v>1.16</c:v>
                </c:pt>
                <c:pt idx="11">
                  <c:v>1.05</c:v>
                </c:pt>
                <c:pt idx="12">
                  <c:v>1.02</c:v>
                </c:pt>
                <c:pt idx="13">
                  <c:v>0.98</c:v>
                </c:pt>
                <c:pt idx="14">
                  <c:v>1.04</c:v>
                </c:pt>
                <c:pt idx="15">
                  <c:v>1.1</c:v>
                </c:pt>
                <c:pt idx="16">
                  <c:v>1.03</c:v>
                </c:pt>
                <c:pt idx="17">
                  <c:v>0.99</c:v>
                </c:pt>
                <c:pt idx="18">
                  <c:v>1.11</c:v>
                </c:pt>
                <c:pt idx="19">
                  <c:v>1.24</c:v>
                </c:pt>
                <c:pt idx="20">
                  <c:v>1.21</c:v>
                </c:pt>
                <c:pt idx="21">
                  <c:v>1.28</c:v>
                </c:pt>
                <c:pt idx="22">
                  <c:v>1.28</c:v>
                </c:pt>
                <c:pt idx="23">
                  <c:v>1.3</c:v>
                </c:pt>
                <c:pt idx="24">
                  <c:v>1.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1,2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1"/>
              <c:tx>
                <c:rich>
                  <a:bodyPr/>
                  <a:lstStyle/>
                  <a:p>
                    <a:r>
                      <a:t>Value Sales </a:t>
                    </a:r>
                  </a:p>
                  <a:p>
                    <a:r>
                      <a:t> 537,412</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B$2:$B$23</c:f>
              <c:numCache>
                <c:formatCode>General</c:formatCode>
                <c:ptCount val="22"/>
                <c:pt idx="0">
                  <c:v>5</c:v>
                </c:pt>
                <c:pt idx="1">
                  <c:v>35897</c:v>
                </c:pt>
                <c:pt idx="2">
                  <c:v>93690</c:v>
                </c:pt>
                <c:pt idx="3">
                  <c:v>129083</c:v>
                </c:pt>
                <c:pt idx="4">
                  <c:v>305767</c:v>
                </c:pt>
                <c:pt idx="5">
                  <c:v>340548</c:v>
                </c:pt>
                <c:pt idx="6">
                  <c:v>352365</c:v>
                </c:pt>
                <c:pt idx="7">
                  <c:v>400022</c:v>
                </c:pt>
                <c:pt idx="8">
                  <c:v>438610</c:v>
                </c:pt>
                <c:pt idx="9">
                  <c:v>437888</c:v>
                </c:pt>
                <c:pt idx="10">
                  <c:v>374403</c:v>
                </c:pt>
                <c:pt idx="11">
                  <c:v>349027</c:v>
                </c:pt>
                <c:pt idx="12">
                  <c:v>297360</c:v>
                </c:pt>
                <c:pt idx="13">
                  <c:v>401221</c:v>
                </c:pt>
                <c:pt idx="14">
                  <c:v>386981</c:v>
                </c:pt>
                <c:pt idx="15">
                  <c:v>403051</c:v>
                </c:pt>
                <c:pt idx="16">
                  <c:v>485404</c:v>
                </c:pt>
                <c:pt idx="17">
                  <c:v>471849</c:v>
                </c:pt>
                <c:pt idx="18">
                  <c:v>519632</c:v>
                </c:pt>
                <c:pt idx="19">
                  <c:v>558312</c:v>
                </c:pt>
                <c:pt idx="20">
                  <c:v>535089</c:v>
                </c:pt>
                <c:pt idx="21">
                  <c:v>5374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1"/>
              <c:tx>
                <c:rich>
                  <a:bodyPr/>
                  <a:lstStyle/>
                  <a:p>
                    <a:r>
                      <a:t>Av Price/KG </a:t>
                    </a:r>
                  </a:p>
                  <a:p>
                    <a:r>
                      <a:t> $ 3.69</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C$2:$C$23</c:f>
              <c:numCache>
                <c:formatCode>General</c:formatCode>
                <c:ptCount val="22"/>
                <c:pt idx="0">
                  <c:v>0.0</c:v>
                </c:pt>
                <c:pt idx="1">
                  <c:v>5.32</c:v>
                </c:pt>
                <c:pt idx="2">
                  <c:v>5.41</c:v>
                </c:pt>
                <c:pt idx="3">
                  <c:v>5.26</c:v>
                </c:pt>
                <c:pt idx="4">
                  <c:v>4.88</c:v>
                </c:pt>
                <c:pt idx="5">
                  <c:v>4.53</c:v>
                </c:pt>
                <c:pt idx="6">
                  <c:v>4.42</c:v>
                </c:pt>
                <c:pt idx="7">
                  <c:v>4.38</c:v>
                </c:pt>
                <c:pt idx="8">
                  <c:v>4.4</c:v>
                </c:pt>
                <c:pt idx="9">
                  <c:v>4.33</c:v>
                </c:pt>
                <c:pt idx="10">
                  <c:v>4.23</c:v>
                </c:pt>
                <c:pt idx="11">
                  <c:v>4.22</c:v>
                </c:pt>
                <c:pt idx="12">
                  <c:v>4.25</c:v>
                </c:pt>
                <c:pt idx="13">
                  <c:v>4.26</c:v>
                </c:pt>
                <c:pt idx="14">
                  <c:v>4.17</c:v>
                </c:pt>
                <c:pt idx="15">
                  <c:v>3.87</c:v>
                </c:pt>
                <c:pt idx="16">
                  <c:v>3.83</c:v>
                </c:pt>
                <c:pt idx="17">
                  <c:v>3.81</c:v>
                </c:pt>
                <c:pt idx="18">
                  <c:v>3.79</c:v>
                </c:pt>
                <c:pt idx="19">
                  <c:v>3.81</c:v>
                </c:pt>
                <c:pt idx="20">
                  <c:v>3.77</c:v>
                </c:pt>
                <c:pt idx="21">
                  <c:v>3.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89,4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41,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741,4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89487</c:v>
                </c:pt>
                <c:pt idx="1">
                  <c:v>2222742</c:v>
                </c:pt>
                <c:pt idx="2">
                  <c:v>2194776</c:v>
                </c:pt>
                <c:pt idx="3">
                  <c:v>1920250</c:v>
                </c:pt>
                <c:pt idx="4">
                  <c:v>2319599</c:v>
                </c:pt>
                <c:pt idx="5">
                  <c:v>1964383</c:v>
                </c:pt>
                <c:pt idx="6">
                  <c:v>1832242</c:v>
                </c:pt>
                <c:pt idx="7">
                  <c:v>2094522</c:v>
                </c:pt>
                <c:pt idx="8">
                  <c:v>2164031</c:v>
                </c:pt>
                <c:pt idx="9">
                  <c:v>2351921</c:v>
                </c:pt>
                <c:pt idx="10">
                  <c:v>2559286</c:v>
                </c:pt>
                <c:pt idx="11">
                  <c:v>3052977</c:v>
                </c:pt>
                <c:pt idx="12">
                  <c:v>2721533</c:v>
                </c:pt>
                <c:pt idx="13">
                  <c:v>2141849</c:v>
                </c:pt>
                <c:pt idx="14">
                  <c:v>2027404</c:v>
                </c:pt>
                <c:pt idx="15">
                  <c:v>1929057</c:v>
                </c:pt>
                <c:pt idx="16">
                  <c:v>2338883</c:v>
                </c:pt>
                <c:pt idx="17">
                  <c:v>1931259</c:v>
                </c:pt>
                <c:pt idx="18">
                  <c:v>1993770</c:v>
                </c:pt>
                <c:pt idx="19">
                  <c:v>2484185</c:v>
                </c:pt>
                <c:pt idx="20">
                  <c:v>2218242</c:v>
                </c:pt>
                <c:pt idx="21">
                  <c:v>2457366</c:v>
                </c:pt>
                <c:pt idx="22">
                  <c:v>2648271</c:v>
                </c:pt>
                <c:pt idx="23">
                  <c:v>2567403</c:v>
                </c:pt>
                <c:pt idx="24">
                  <c:v>274143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4</c:v>
                </c:pt>
                <c:pt idx="1">
                  <c:v>3.47</c:v>
                </c:pt>
                <c:pt idx="2">
                  <c:v>3.3</c:v>
                </c:pt>
                <c:pt idx="3">
                  <c:v>3.32</c:v>
                </c:pt>
                <c:pt idx="4">
                  <c:v>3.33</c:v>
                </c:pt>
                <c:pt idx="5">
                  <c:v>3.09</c:v>
                </c:pt>
                <c:pt idx="6">
                  <c:v>3.06</c:v>
                </c:pt>
                <c:pt idx="7">
                  <c:v>3.12</c:v>
                </c:pt>
                <c:pt idx="8">
                  <c:v>3.21</c:v>
                </c:pt>
                <c:pt idx="9">
                  <c:v>3.19</c:v>
                </c:pt>
                <c:pt idx="10">
                  <c:v>3.18</c:v>
                </c:pt>
                <c:pt idx="11">
                  <c:v>3.24</c:v>
                </c:pt>
                <c:pt idx="12">
                  <c:v>3.13</c:v>
                </c:pt>
                <c:pt idx="13">
                  <c:v>3.06</c:v>
                </c:pt>
                <c:pt idx="14">
                  <c:v>3.02</c:v>
                </c:pt>
                <c:pt idx="15">
                  <c:v>3.01</c:v>
                </c:pt>
                <c:pt idx="16">
                  <c:v>3.03</c:v>
                </c:pt>
                <c:pt idx="17">
                  <c:v>2.96</c:v>
                </c:pt>
                <c:pt idx="18">
                  <c:v>2.97</c:v>
                </c:pt>
                <c:pt idx="19">
                  <c:v>3.06</c:v>
                </c:pt>
                <c:pt idx="20">
                  <c:v>3.01</c:v>
                </c:pt>
                <c:pt idx="21">
                  <c:v>2.99</c:v>
                </c:pt>
                <c:pt idx="22">
                  <c:v>3.0</c:v>
                </c:pt>
                <c:pt idx="23">
                  <c:v>2.95</c:v>
                </c:pt>
                <c:pt idx="24">
                  <c:v>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82,5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08,2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91,0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82544</c:v>
                </c:pt>
                <c:pt idx="1">
                  <c:v>558651</c:v>
                </c:pt>
                <c:pt idx="2">
                  <c:v>560896</c:v>
                </c:pt>
                <c:pt idx="3">
                  <c:v>550114</c:v>
                </c:pt>
                <c:pt idx="4">
                  <c:v>514117</c:v>
                </c:pt>
                <c:pt idx="5">
                  <c:v>580570</c:v>
                </c:pt>
                <c:pt idx="6">
                  <c:v>506534</c:v>
                </c:pt>
                <c:pt idx="7">
                  <c:v>573199</c:v>
                </c:pt>
                <c:pt idx="8">
                  <c:v>575661</c:v>
                </c:pt>
                <c:pt idx="9">
                  <c:v>638673</c:v>
                </c:pt>
                <c:pt idx="10">
                  <c:v>632339</c:v>
                </c:pt>
                <c:pt idx="11">
                  <c:v>744859</c:v>
                </c:pt>
                <c:pt idx="12">
                  <c:v>624684</c:v>
                </c:pt>
                <c:pt idx="13">
                  <c:v>608257</c:v>
                </c:pt>
                <c:pt idx="14">
                  <c:v>641525</c:v>
                </c:pt>
                <c:pt idx="15">
                  <c:v>690482</c:v>
                </c:pt>
                <c:pt idx="16">
                  <c:v>594475</c:v>
                </c:pt>
                <c:pt idx="17">
                  <c:v>626201</c:v>
                </c:pt>
                <c:pt idx="18">
                  <c:v>609262</c:v>
                </c:pt>
                <c:pt idx="19">
                  <c:v>682369</c:v>
                </c:pt>
                <c:pt idx="20">
                  <c:v>686634</c:v>
                </c:pt>
                <c:pt idx="21">
                  <c:v>791892</c:v>
                </c:pt>
                <c:pt idx="22">
                  <c:v>787474</c:v>
                </c:pt>
                <c:pt idx="23">
                  <c:v>925610</c:v>
                </c:pt>
                <c:pt idx="24">
                  <c:v>7910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2</c:v>
                </c:pt>
                <c:pt idx="1">
                  <c:v>3.45</c:v>
                </c:pt>
                <c:pt idx="2">
                  <c:v>3.31</c:v>
                </c:pt>
                <c:pt idx="3">
                  <c:v>3.33</c:v>
                </c:pt>
                <c:pt idx="4">
                  <c:v>3.41</c:v>
                </c:pt>
                <c:pt idx="5">
                  <c:v>3.39</c:v>
                </c:pt>
                <c:pt idx="6">
                  <c:v>3.58</c:v>
                </c:pt>
                <c:pt idx="7">
                  <c:v>3.54</c:v>
                </c:pt>
                <c:pt idx="8">
                  <c:v>3.57</c:v>
                </c:pt>
                <c:pt idx="9">
                  <c:v>3.62</c:v>
                </c:pt>
                <c:pt idx="10">
                  <c:v>3.69</c:v>
                </c:pt>
                <c:pt idx="11">
                  <c:v>3.6</c:v>
                </c:pt>
                <c:pt idx="12">
                  <c:v>3.65</c:v>
                </c:pt>
                <c:pt idx="13">
                  <c:v>3.6</c:v>
                </c:pt>
                <c:pt idx="14">
                  <c:v>3.39</c:v>
                </c:pt>
                <c:pt idx="15">
                  <c:v>3.28</c:v>
                </c:pt>
                <c:pt idx="16">
                  <c:v>3.32</c:v>
                </c:pt>
                <c:pt idx="17">
                  <c:v>3.43</c:v>
                </c:pt>
                <c:pt idx="18">
                  <c:v>3.6</c:v>
                </c:pt>
                <c:pt idx="19">
                  <c:v>3.56</c:v>
                </c:pt>
                <c:pt idx="20">
                  <c:v>3.49</c:v>
                </c:pt>
                <c:pt idx="21">
                  <c:v>3.17</c:v>
                </c:pt>
                <c:pt idx="22">
                  <c:v>3.32</c:v>
                </c:pt>
                <c:pt idx="23">
                  <c:v>3.35</c:v>
                </c:pt>
                <c:pt idx="24">
                  <c:v>3.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55,3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17,1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85,7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55379</c:v>
                </c:pt>
                <c:pt idx="1">
                  <c:v>2236986</c:v>
                </c:pt>
                <c:pt idx="2">
                  <c:v>2358554</c:v>
                </c:pt>
                <c:pt idx="3">
                  <c:v>2598420</c:v>
                </c:pt>
                <c:pt idx="4">
                  <c:v>4016231</c:v>
                </c:pt>
                <c:pt idx="5">
                  <c:v>2391692</c:v>
                </c:pt>
                <c:pt idx="6">
                  <c:v>2477789</c:v>
                </c:pt>
                <c:pt idx="7">
                  <c:v>3039327</c:v>
                </c:pt>
                <c:pt idx="8">
                  <c:v>2867621</c:v>
                </c:pt>
                <c:pt idx="9">
                  <c:v>2983250</c:v>
                </c:pt>
                <c:pt idx="10">
                  <c:v>3124178</c:v>
                </c:pt>
                <c:pt idx="11">
                  <c:v>3210211</c:v>
                </c:pt>
                <c:pt idx="12">
                  <c:v>3034302</c:v>
                </c:pt>
                <c:pt idx="13">
                  <c:v>2617135</c:v>
                </c:pt>
                <c:pt idx="14">
                  <c:v>2694403</c:v>
                </c:pt>
                <c:pt idx="15">
                  <c:v>2721083</c:v>
                </c:pt>
                <c:pt idx="16">
                  <c:v>3726277</c:v>
                </c:pt>
                <c:pt idx="17">
                  <c:v>2153027</c:v>
                </c:pt>
                <c:pt idx="18">
                  <c:v>2002602</c:v>
                </c:pt>
                <c:pt idx="19">
                  <c:v>2346767</c:v>
                </c:pt>
                <c:pt idx="20">
                  <c:v>2088538</c:v>
                </c:pt>
                <c:pt idx="21">
                  <c:v>2288377</c:v>
                </c:pt>
                <c:pt idx="22">
                  <c:v>2385250</c:v>
                </c:pt>
                <c:pt idx="23">
                  <c:v>2365344</c:v>
                </c:pt>
                <c:pt idx="24">
                  <c:v>218579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3</c:v>
                </c:pt>
                <c:pt idx="1">
                  <c:v>3.69</c:v>
                </c:pt>
                <c:pt idx="2">
                  <c:v>3.47</c:v>
                </c:pt>
                <c:pt idx="3">
                  <c:v>3.07</c:v>
                </c:pt>
                <c:pt idx="4">
                  <c:v>2.44</c:v>
                </c:pt>
                <c:pt idx="5">
                  <c:v>3.11</c:v>
                </c:pt>
                <c:pt idx="6">
                  <c:v>3.33</c:v>
                </c:pt>
                <c:pt idx="7">
                  <c:v>3.26</c:v>
                </c:pt>
                <c:pt idx="8">
                  <c:v>3.3</c:v>
                </c:pt>
                <c:pt idx="9">
                  <c:v>3.39</c:v>
                </c:pt>
                <c:pt idx="10">
                  <c:v>3.43</c:v>
                </c:pt>
                <c:pt idx="11">
                  <c:v>3.39</c:v>
                </c:pt>
                <c:pt idx="12">
                  <c:v>3.31</c:v>
                </c:pt>
                <c:pt idx="13">
                  <c:v>3.31</c:v>
                </c:pt>
                <c:pt idx="14">
                  <c:v>3.26</c:v>
                </c:pt>
                <c:pt idx="15">
                  <c:v>3.25</c:v>
                </c:pt>
                <c:pt idx="16">
                  <c:v>3.09</c:v>
                </c:pt>
                <c:pt idx="17">
                  <c:v>3.09</c:v>
                </c:pt>
                <c:pt idx="18">
                  <c:v>3.39</c:v>
                </c:pt>
                <c:pt idx="19">
                  <c:v>3.4</c:v>
                </c:pt>
                <c:pt idx="20">
                  <c:v>3.31</c:v>
                </c:pt>
                <c:pt idx="21">
                  <c:v>3.25</c:v>
                </c:pt>
                <c:pt idx="22">
                  <c:v>3.21</c:v>
                </c:pt>
                <c:pt idx="23">
                  <c:v>3.21</c:v>
                </c:pt>
                <c:pt idx="24">
                  <c:v>3.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0,6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90,8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9,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0614</c:v>
                </c:pt>
                <c:pt idx="1">
                  <c:v>708090</c:v>
                </c:pt>
                <c:pt idx="2">
                  <c:v>770634</c:v>
                </c:pt>
                <c:pt idx="3">
                  <c:v>604619</c:v>
                </c:pt>
                <c:pt idx="4">
                  <c:v>676790</c:v>
                </c:pt>
                <c:pt idx="5">
                  <c:v>597698</c:v>
                </c:pt>
                <c:pt idx="6">
                  <c:v>608288</c:v>
                </c:pt>
                <c:pt idx="7">
                  <c:v>1054794</c:v>
                </c:pt>
                <c:pt idx="8">
                  <c:v>850355</c:v>
                </c:pt>
                <c:pt idx="9">
                  <c:v>868156</c:v>
                </c:pt>
                <c:pt idx="10">
                  <c:v>960803</c:v>
                </c:pt>
                <c:pt idx="11">
                  <c:v>945460</c:v>
                </c:pt>
                <c:pt idx="12">
                  <c:v>874380</c:v>
                </c:pt>
                <c:pt idx="13">
                  <c:v>690804</c:v>
                </c:pt>
                <c:pt idx="14">
                  <c:v>671674</c:v>
                </c:pt>
                <c:pt idx="15">
                  <c:v>553794</c:v>
                </c:pt>
                <c:pt idx="16">
                  <c:v>640498</c:v>
                </c:pt>
                <c:pt idx="17">
                  <c:v>524967</c:v>
                </c:pt>
                <c:pt idx="18">
                  <c:v>536562</c:v>
                </c:pt>
                <c:pt idx="19">
                  <c:v>649217</c:v>
                </c:pt>
                <c:pt idx="20">
                  <c:v>639344</c:v>
                </c:pt>
                <c:pt idx="21">
                  <c:v>719017</c:v>
                </c:pt>
                <c:pt idx="22">
                  <c:v>786461</c:v>
                </c:pt>
                <c:pt idx="23">
                  <c:v>829119</c:v>
                </c:pt>
                <c:pt idx="24">
                  <c:v>7794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8</c:v>
                </c:pt>
                <c:pt idx="1">
                  <c:v>5.28</c:v>
                </c:pt>
                <c:pt idx="2">
                  <c:v>5.0</c:v>
                </c:pt>
                <c:pt idx="3">
                  <c:v>5.07</c:v>
                </c:pt>
                <c:pt idx="4">
                  <c:v>5.21</c:v>
                </c:pt>
                <c:pt idx="5">
                  <c:v>5.3</c:v>
                </c:pt>
                <c:pt idx="6">
                  <c:v>5.2</c:v>
                </c:pt>
                <c:pt idx="7">
                  <c:v>5.41</c:v>
                </c:pt>
                <c:pt idx="8">
                  <c:v>5.59</c:v>
                </c:pt>
                <c:pt idx="9">
                  <c:v>5.54</c:v>
                </c:pt>
                <c:pt idx="10">
                  <c:v>5.32</c:v>
                </c:pt>
                <c:pt idx="11">
                  <c:v>5.76</c:v>
                </c:pt>
                <c:pt idx="12">
                  <c:v>5.42</c:v>
                </c:pt>
                <c:pt idx="13">
                  <c:v>5.77</c:v>
                </c:pt>
                <c:pt idx="14">
                  <c:v>5.49</c:v>
                </c:pt>
                <c:pt idx="15">
                  <c:v>5.59</c:v>
                </c:pt>
                <c:pt idx="16">
                  <c:v>5.66</c:v>
                </c:pt>
                <c:pt idx="17">
                  <c:v>5.75</c:v>
                </c:pt>
                <c:pt idx="18">
                  <c:v>5.57</c:v>
                </c:pt>
                <c:pt idx="19">
                  <c:v>5.71</c:v>
                </c:pt>
                <c:pt idx="20">
                  <c:v>5.34</c:v>
                </c:pt>
                <c:pt idx="21">
                  <c:v>5.29</c:v>
                </c:pt>
                <c:pt idx="22">
                  <c:v>5.35</c:v>
                </c:pt>
                <c:pt idx="23">
                  <c:v>5.49</c:v>
                </c:pt>
                <c:pt idx="24">
                  <c:v>5.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708,9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78,5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04,3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708923</c:v>
                </c:pt>
                <c:pt idx="1">
                  <c:v>2320458</c:v>
                </c:pt>
                <c:pt idx="2">
                  <c:v>2506446</c:v>
                </c:pt>
                <c:pt idx="3">
                  <c:v>2603412</c:v>
                </c:pt>
                <c:pt idx="4">
                  <c:v>2967087</c:v>
                </c:pt>
                <c:pt idx="5">
                  <c:v>1981532</c:v>
                </c:pt>
                <c:pt idx="6">
                  <c:v>2069610</c:v>
                </c:pt>
                <c:pt idx="7">
                  <c:v>2475988</c:v>
                </c:pt>
                <c:pt idx="8">
                  <c:v>2407434</c:v>
                </c:pt>
                <c:pt idx="9">
                  <c:v>2641812</c:v>
                </c:pt>
                <c:pt idx="10">
                  <c:v>2706567</c:v>
                </c:pt>
                <c:pt idx="11">
                  <c:v>2729269</c:v>
                </c:pt>
                <c:pt idx="12">
                  <c:v>2559644</c:v>
                </c:pt>
                <c:pt idx="13">
                  <c:v>2178591</c:v>
                </c:pt>
                <c:pt idx="14">
                  <c:v>2259111</c:v>
                </c:pt>
                <c:pt idx="15">
                  <c:v>2257637</c:v>
                </c:pt>
                <c:pt idx="16">
                  <c:v>3052906</c:v>
                </c:pt>
                <c:pt idx="17">
                  <c:v>1756973</c:v>
                </c:pt>
                <c:pt idx="18">
                  <c:v>1956577</c:v>
                </c:pt>
                <c:pt idx="19">
                  <c:v>2256094</c:v>
                </c:pt>
                <c:pt idx="20">
                  <c:v>2136146</c:v>
                </c:pt>
                <c:pt idx="21">
                  <c:v>2299099</c:v>
                </c:pt>
                <c:pt idx="22">
                  <c:v>2469191</c:v>
                </c:pt>
                <c:pt idx="23">
                  <c:v>2482545</c:v>
                </c:pt>
                <c:pt idx="24">
                  <c:v>230430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7</c:v>
                </c:pt>
                <c:pt idx="1">
                  <c:v>3.97</c:v>
                </c:pt>
                <c:pt idx="2">
                  <c:v>3.87</c:v>
                </c:pt>
                <c:pt idx="3">
                  <c:v>3.77</c:v>
                </c:pt>
                <c:pt idx="4">
                  <c:v>3.7</c:v>
                </c:pt>
                <c:pt idx="5">
                  <c:v>3.81</c:v>
                </c:pt>
                <c:pt idx="6">
                  <c:v>4.04</c:v>
                </c:pt>
                <c:pt idx="7">
                  <c:v>4.17</c:v>
                </c:pt>
                <c:pt idx="8">
                  <c:v>4.24</c:v>
                </c:pt>
                <c:pt idx="9">
                  <c:v>4.32</c:v>
                </c:pt>
                <c:pt idx="10">
                  <c:v>4.27</c:v>
                </c:pt>
                <c:pt idx="11">
                  <c:v>4.27</c:v>
                </c:pt>
                <c:pt idx="12">
                  <c:v>4.19</c:v>
                </c:pt>
                <c:pt idx="13">
                  <c:v>4.18</c:v>
                </c:pt>
                <c:pt idx="14">
                  <c:v>4.08</c:v>
                </c:pt>
                <c:pt idx="15">
                  <c:v>4.01</c:v>
                </c:pt>
                <c:pt idx="16">
                  <c:v>3.58</c:v>
                </c:pt>
                <c:pt idx="17">
                  <c:v>3.69</c:v>
                </c:pt>
                <c:pt idx="18">
                  <c:v>4.1</c:v>
                </c:pt>
                <c:pt idx="19">
                  <c:v>4.09</c:v>
                </c:pt>
                <c:pt idx="20">
                  <c:v>4.09</c:v>
                </c:pt>
                <c:pt idx="21">
                  <c:v>4.11</c:v>
                </c:pt>
                <c:pt idx="22">
                  <c:v>4.12</c:v>
                </c:pt>
                <c:pt idx="23">
                  <c:v>4.13</c:v>
                </c:pt>
                <c:pt idx="24">
                  <c:v>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2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4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298</c:v>
                </c:pt>
                <c:pt idx="1">
                  <c:v>13718</c:v>
                </c:pt>
                <c:pt idx="2">
                  <c:v>11230</c:v>
                </c:pt>
                <c:pt idx="3">
                  <c:v>8739</c:v>
                </c:pt>
                <c:pt idx="4">
                  <c:v>8852</c:v>
                </c:pt>
                <c:pt idx="5">
                  <c:v>10781</c:v>
                </c:pt>
                <c:pt idx="6">
                  <c:v>10110</c:v>
                </c:pt>
                <c:pt idx="7">
                  <c:v>12679</c:v>
                </c:pt>
                <c:pt idx="8">
                  <c:v>12659</c:v>
                </c:pt>
                <c:pt idx="9">
                  <c:v>12915</c:v>
                </c:pt>
                <c:pt idx="10">
                  <c:v>14094</c:v>
                </c:pt>
                <c:pt idx="11">
                  <c:v>16363</c:v>
                </c:pt>
                <c:pt idx="12">
                  <c:v>14577</c:v>
                </c:pt>
                <c:pt idx="13">
                  <c:v>13229</c:v>
                </c:pt>
                <c:pt idx="14">
                  <c:v>20001</c:v>
                </c:pt>
                <c:pt idx="15">
                  <c:v>12979</c:v>
                </c:pt>
                <c:pt idx="16">
                  <c:v>11640</c:v>
                </c:pt>
                <c:pt idx="17">
                  <c:v>14044</c:v>
                </c:pt>
                <c:pt idx="18">
                  <c:v>13124</c:v>
                </c:pt>
                <c:pt idx="19">
                  <c:v>13269</c:v>
                </c:pt>
                <c:pt idx="20">
                  <c:v>13514</c:v>
                </c:pt>
                <c:pt idx="21">
                  <c:v>13700</c:v>
                </c:pt>
                <c:pt idx="22">
                  <c:v>14423</c:v>
                </c:pt>
                <c:pt idx="23">
                  <c:v>14036</c:v>
                </c:pt>
                <c:pt idx="24">
                  <c:v>154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8</c:v>
                </c:pt>
                <c:pt idx="1">
                  <c:v>1.58</c:v>
                </c:pt>
                <c:pt idx="2">
                  <c:v>1.68</c:v>
                </c:pt>
                <c:pt idx="3">
                  <c:v>1.48</c:v>
                </c:pt>
                <c:pt idx="4">
                  <c:v>1.44</c:v>
                </c:pt>
                <c:pt idx="5">
                  <c:v>1.41</c:v>
                </c:pt>
                <c:pt idx="6">
                  <c:v>1.3</c:v>
                </c:pt>
                <c:pt idx="7">
                  <c:v>1.34</c:v>
                </c:pt>
                <c:pt idx="8">
                  <c:v>1.34</c:v>
                </c:pt>
                <c:pt idx="9">
                  <c:v>1.26</c:v>
                </c:pt>
                <c:pt idx="10">
                  <c:v>1.27</c:v>
                </c:pt>
                <c:pt idx="11">
                  <c:v>1.28</c:v>
                </c:pt>
                <c:pt idx="12">
                  <c:v>1.27</c:v>
                </c:pt>
                <c:pt idx="13">
                  <c:v>1.25</c:v>
                </c:pt>
                <c:pt idx="14">
                  <c:v>1.33</c:v>
                </c:pt>
                <c:pt idx="15">
                  <c:v>1.38</c:v>
                </c:pt>
                <c:pt idx="16">
                  <c:v>1.34</c:v>
                </c:pt>
                <c:pt idx="17">
                  <c:v>1.41</c:v>
                </c:pt>
                <c:pt idx="18">
                  <c:v>1.44</c:v>
                </c:pt>
                <c:pt idx="19">
                  <c:v>1.46</c:v>
                </c:pt>
                <c:pt idx="20">
                  <c:v>1.57</c:v>
                </c:pt>
                <c:pt idx="21">
                  <c:v>1.71</c:v>
                </c:pt>
                <c:pt idx="22">
                  <c:v>1.73</c:v>
                </c:pt>
                <c:pt idx="23">
                  <c:v>1.71</c:v>
                </c:pt>
                <c:pt idx="24">
                  <c:v>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1,1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4,6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89,8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1119</c:v>
                </c:pt>
                <c:pt idx="1">
                  <c:v>328796</c:v>
                </c:pt>
                <c:pt idx="2">
                  <c:v>547548</c:v>
                </c:pt>
                <c:pt idx="3">
                  <c:v>318040</c:v>
                </c:pt>
                <c:pt idx="4">
                  <c:v>320465</c:v>
                </c:pt>
                <c:pt idx="5">
                  <c:v>253531</c:v>
                </c:pt>
                <c:pt idx="6">
                  <c:v>550124</c:v>
                </c:pt>
                <c:pt idx="7">
                  <c:v>733073</c:v>
                </c:pt>
                <c:pt idx="8">
                  <c:v>546152</c:v>
                </c:pt>
                <c:pt idx="9">
                  <c:v>434655</c:v>
                </c:pt>
                <c:pt idx="10">
                  <c:v>885491</c:v>
                </c:pt>
                <c:pt idx="11">
                  <c:v>617484</c:v>
                </c:pt>
                <c:pt idx="12">
                  <c:v>416623</c:v>
                </c:pt>
                <c:pt idx="13">
                  <c:v>324644</c:v>
                </c:pt>
                <c:pt idx="14">
                  <c:v>638945</c:v>
                </c:pt>
                <c:pt idx="15">
                  <c:v>349011</c:v>
                </c:pt>
                <c:pt idx="16">
                  <c:v>438702</c:v>
                </c:pt>
                <c:pt idx="17">
                  <c:v>203340</c:v>
                </c:pt>
                <c:pt idx="18">
                  <c:v>153755</c:v>
                </c:pt>
                <c:pt idx="19">
                  <c:v>193515</c:v>
                </c:pt>
                <c:pt idx="20">
                  <c:v>250039</c:v>
                </c:pt>
                <c:pt idx="21">
                  <c:v>233554</c:v>
                </c:pt>
                <c:pt idx="22">
                  <c:v>498738</c:v>
                </c:pt>
                <c:pt idx="23">
                  <c:v>598839</c:v>
                </c:pt>
                <c:pt idx="24">
                  <c:v>4898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6</c:v>
                </c:pt>
                <c:pt idx="1">
                  <c:v>2.06</c:v>
                </c:pt>
                <c:pt idx="2">
                  <c:v>1.96</c:v>
                </c:pt>
                <c:pt idx="3">
                  <c:v>1.99</c:v>
                </c:pt>
                <c:pt idx="4">
                  <c:v>2.13</c:v>
                </c:pt>
                <c:pt idx="5">
                  <c:v>2.21</c:v>
                </c:pt>
                <c:pt idx="6">
                  <c:v>1.95</c:v>
                </c:pt>
                <c:pt idx="7">
                  <c:v>1.94</c:v>
                </c:pt>
                <c:pt idx="8">
                  <c:v>1.92</c:v>
                </c:pt>
                <c:pt idx="9">
                  <c:v>1.96</c:v>
                </c:pt>
                <c:pt idx="10">
                  <c:v>2.07</c:v>
                </c:pt>
                <c:pt idx="11">
                  <c:v>1.98</c:v>
                </c:pt>
                <c:pt idx="12">
                  <c:v>2.08</c:v>
                </c:pt>
                <c:pt idx="13">
                  <c:v>2.15</c:v>
                </c:pt>
                <c:pt idx="14">
                  <c:v>2.11</c:v>
                </c:pt>
                <c:pt idx="15">
                  <c:v>2.06</c:v>
                </c:pt>
                <c:pt idx="16">
                  <c:v>2.16</c:v>
                </c:pt>
                <c:pt idx="17">
                  <c:v>2.36</c:v>
                </c:pt>
                <c:pt idx="18">
                  <c:v>2.24</c:v>
                </c:pt>
                <c:pt idx="19">
                  <c:v>2.13</c:v>
                </c:pt>
                <c:pt idx="20">
                  <c:v>2.16</c:v>
                </c:pt>
                <c:pt idx="21">
                  <c:v>2.12</c:v>
                </c:pt>
                <c:pt idx="22">
                  <c:v>1.92</c:v>
                </c:pt>
                <c:pt idx="23">
                  <c:v>1.92</c:v>
                </c:pt>
                <c:pt idx="24">
                  <c:v>1.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73,2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6,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8,5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73223</c:v>
                </c:pt>
                <c:pt idx="1">
                  <c:v>457798</c:v>
                </c:pt>
                <c:pt idx="2">
                  <c:v>728394</c:v>
                </c:pt>
                <c:pt idx="3">
                  <c:v>908423</c:v>
                </c:pt>
                <c:pt idx="4">
                  <c:v>924555</c:v>
                </c:pt>
                <c:pt idx="5">
                  <c:v>296921</c:v>
                </c:pt>
                <c:pt idx="6">
                  <c:v>266122</c:v>
                </c:pt>
                <c:pt idx="7">
                  <c:v>305515</c:v>
                </c:pt>
                <c:pt idx="8">
                  <c:v>295146</c:v>
                </c:pt>
                <c:pt idx="9">
                  <c:v>347692</c:v>
                </c:pt>
                <c:pt idx="10">
                  <c:v>410636</c:v>
                </c:pt>
                <c:pt idx="11">
                  <c:v>404783</c:v>
                </c:pt>
                <c:pt idx="12">
                  <c:v>443891</c:v>
                </c:pt>
                <c:pt idx="13">
                  <c:v>416864</c:v>
                </c:pt>
                <c:pt idx="14">
                  <c:v>628464</c:v>
                </c:pt>
                <c:pt idx="15">
                  <c:v>851731</c:v>
                </c:pt>
                <c:pt idx="16">
                  <c:v>1363521</c:v>
                </c:pt>
                <c:pt idx="17">
                  <c:v>231616</c:v>
                </c:pt>
                <c:pt idx="18">
                  <c:v>220154</c:v>
                </c:pt>
                <c:pt idx="19">
                  <c:v>258766</c:v>
                </c:pt>
                <c:pt idx="20">
                  <c:v>260559</c:v>
                </c:pt>
                <c:pt idx="21">
                  <c:v>291966</c:v>
                </c:pt>
                <c:pt idx="22">
                  <c:v>316123</c:v>
                </c:pt>
                <c:pt idx="23">
                  <c:v>330986</c:v>
                </c:pt>
                <c:pt idx="24">
                  <c:v>2985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8</c:v>
                </c:pt>
                <c:pt idx="2">
                  <c:v>1.28</c:v>
                </c:pt>
                <c:pt idx="3">
                  <c:v>1.16</c:v>
                </c:pt>
                <c:pt idx="4">
                  <c:v>1.14</c:v>
                </c:pt>
                <c:pt idx="5">
                  <c:v>1.22</c:v>
                </c:pt>
                <c:pt idx="6">
                  <c:v>1.53</c:v>
                </c:pt>
                <c:pt idx="7">
                  <c:v>1.56</c:v>
                </c:pt>
                <c:pt idx="8">
                  <c:v>1.57</c:v>
                </c:pt>
                <c:pt idx="9">
                  <c:v>1.58</c:v>
                </c:pt>
                <c:pt idx="10">
                  <c:v>1.59</c:v>
                </c:pt>
                <c:pt idx="11">
                  <c:v>1.59</c:v>
                </c:pt>
                <c:pt idx="12">
                  <c:v>1.49</c:v>
                </c:pt>
                <c:pt idx="13">
                  <c:v>1.45</c:v>
                </c:pt>
                <c:pt idx="14">
                  <c:v>1.44</c:v>
                </c:pt>
                <c:pt idx="15">
                  <c:v>1.46</c:v>
                </c:pt>
                <c:pt idx="16">
                  <c:v>1.34</c:v>
                </c:pt>
                <c:pt idx="17">
                  <c:v>1.37</c:v>
                </c:pt>
                <c:pt idx="18">
                  <c:v>1.47</c:v>
                </c:pt>
                <c:pt idx="19">
                  <c:v>1.47</c:v>
                </c:pt>
                <c:pt idx="20">
                  <c:v>1.48</c:v>
                </c:pt>
                <c:pt idx="21">
                  <c:v>1.48</c:v>
                </c:pt>
                <c:pt idx="22">
                  <c:v>1.48</c:v>
                </c:pt>
                <c:pt idx="23">
                  <c:v>1.48</c:v>
                </c:pt>
                <c:pt idx="24">
                  <c:v>1.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43,2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19"/>
              <c:tx>
                <c:rich>
                  <a:bodyPr/>
                  <a:lstStyle/>
                  <a:p>
                    <a:r>
                      <a:t>Value Sales </a:t>
                    </a:r>
                  </a:p>
                  <a:p>
                    <a:r>
                      <a:t> 713,610</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strCache>
            </c:strRef>
          </c:cat>
          <c:val>
            <c:numRef>
              <c:f>Sheet1!$B$2:$B$21</c:f>
              <c:numCache>
                <c:formatCode>General</c:formatCode>
                <c:ptCount val="20"/>
                <c:pt idx="0">
                  <c:v>8423</c:v>
                </c:pt>
                <c:pt idx="1">
                  <c:v>60338</c:v>
                </c:pt>
                <c:pt idx="2">
                  <c:v>118772</c:v>
                </c:pt>
                <c:pt idx="3">
                  <c:v>140512</c:v>
                </c:pt>
                <c:pt idx="4">
                  <c:v>172757</c:v>
                </c:pt>
                <c:pt idx="5">
                  <c:v>195319</c:v>
                </c:pt>
                <c:pt idx="6">
                  <c:v>232723</c:v>
                </c:pt>
                <c:pt idx="7">
                  <c:v>251652</c:v>
                </c:pt>
                <c:pt idx="8">
                  <c:v>234734</c:v>
                </c:pt>
                <c:pt idx="9">
                  <c:v>201066</c:v>
                </c:pt>
                <c:pt idx="10">
                  <c:v>204424</c:v>
                </c:pt>
                <c:pt idx="11">
                  <c:v>291617</c:v>
                </c:pt>
                <c:pt idx="12">
                  <c:v>297284</c:v>
                </c:pt>
                <c:pt idx="13">
                  <c:v>343239</c:v>
                </c:pt>
                <c:pt idx="14">
                  <c:v>450222</c:v>
                </c:pt>
                <c:pt idx="15">
                  <c:v>459964</c:v>
                </c:pt>
                <c:pt idx="16">
                  <c:v>549902</c:v>
                </c:pt>
                <c:pt idx="17">
                  <c:v>601057</c:v>
                </c:pt>
                <c:pt idx="18">
                  <c:v>752116</c:v>
                </c:pt>
                <c:pt idx="19">
                  <c:v>71361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19"/>
              <c:tx>
                <c:rich>
                  <a:bodyPr/>
                  <a:lstStyle/>
                  <a:p>
                    <a:r>
                      <a:t>Av Price/KG </a:t>
                    </a:r>
                  </a:p>
                  <a:p>
                    <a:r>
                      <a:t> $ 1.31</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strCache>
            </c:strRef>
          </c:cat>
          <c:val>
            <c:numRef>
              <c:f>Sheet1!$C$2:$C$21</c:f>
              <c:numCache>
                <c:formatCode>General</c:formatCode>
                <c:ptCount val="20"/>
                <c:pt idx="0">
                  <c:v>2.6</c:v>
                </c:pt>
                <c:pt idx="1">
                  <c:v>1.15</c:v>
                </c:pt>
                <c:pt idx="2">
                  <c:v>1.21</c:v>
                </c:pt>
                <c:pt idx="3">
                  <c:v>1.22</c:v>
                </c:pt>
                <c:pt idx="4">
                  <c:v>1.2</c:v>
                </c:pt>
                <c:pt idx="5">
                  <c:v>1.1</c:v>
                </c:pt>
                <c:pt idx="6">
                  <c:v>1.02</c:v>
                </c:pt>
                <c:pt idx="7">
                  <c:v>1.01</c:v>
                </c:pt>
                <c:pt idx="8">
                  <c:v>0.96</c:v>
                </c:pt>
                <c:pt idx="9">
                  <c:v>1.0</c:v>
                </c:pt>
                <c:pt idx="10">
                  <c:v>1.02</c:v>
                </c:pt>
                <c:pt idx="11">
                  <c:v>1.0</c:v>
                </c:pt>
                <c:pt idx="12">
                  <c:v>0.95</c:v>
                </c:pt>
                <c:pt idx="13">
                  <c:v>1.08</c:v>
                </c:pt>
                <c:pt idx="14">
                  <c:v>1.21</c:v>
                </c:pt>
                <c:pt idx="15">
                  <c:v>1.19</c:v>
                </c:pt>
                <c:pt idx="16">
                  <c:v>1.27</c:v>
                </c:pt>
                <c:pt idx="17">
                  <c:v>1.27</c:v>
                </c:pt>
                <c:pt idx="18">
                  <c:v>1.29</c:v>
                </c:pt>
                <c:pt idx="19">
                  <c:v>1.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1,2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1"/>
              <c:tx>
                <c:rich>
                  <a:bodyPr/>
                  <a:lstStyle/>
                  <a:p>
                    <a:r>
                      <a:t>Value Sales </a:t>
                    </a:r>
                  </a:p>
                  <a:p>
                    <a:r>
                      <a:t> 537,412</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B$2:$B$23</c:f>
              <c:numCache>
                <c:formatCode>General</c:formatCode>
                <c:ptCount val="22"/>
                <c:pt idx="0">
                  <c:v>5</c:v>
                </c:pt>
                <c:pt idx="1">
                  <c:v>35897</c:v>
                </c:pt>
                <c:pt idx="2">
                  <c:v>93690</c:v>
                </c:pt>
                <c:pt idx="3">
                  <c:v>129083</c:v>
                </c:pt>
                <c:pt idx="4">
                  <c:v>305767</c:v>
                </c:pt>
                <c:pt idx="5">
                  <c:v>340548</c:v>
                </c:pt>
                <c:pt idx="6">
                  <c:v>352365</c:v>
                </c:pt>
                <c:pt idx="7">
                  <c:v>400022</c:v>
                </c:pt>
                <c:pt idx="8">
                  <c:v>438610</c:v>
                </c:pt>
                <c:pt idx="9">
                  <c:v>437888</c:v>
                </c:pt>
                <c:pt idx="10">
                  <c:v>374403</c:v>
                </c:pt>
                <c:pt idx="11">
                  <c:v>349027</c:v>
                </c:pt>
                <c:pt idx="12">
                  <c:v>297360</c:v>
                </c:pt>
                <c:pt idx="13">
                  <c:v>401221</c:v>
                </c:pt>
                <c:pt idx="14">
                  <c:v>386981</c:v>
                </c:pt>
                <c:pt idx="15">
                  <c:v>403051</c:v>
                </c:pt>
                <c:pt idx="16">
                  <c:v>485404</c:v>
                </c:pt>
                <c:pt idx="17">
                  <c:v>471849</c:v>
                </c:pt>
                <c:pt idx="18">
                  <c:v>519632</c:v>
                </c:pt>
                <c:pt idx="19">
                  <c:v>558312</c:v>
                </c:pt>
                <c:pt idx="20">
                  <c:v>535089</c:v>
                </c:pt>
                <c:pt idx="21">
                  <c:v>5374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1"/>
              <c:tx>
                <c:rich>
                  <a:bodyPr/>
                  <a:lstStyle/>
                  <a:p>
                    <a:r>
                      <a:t>Av Price/KG </a:t>
                    </a:r>
                  </a:p>
                  <a:p>
                    <a:r>
                      <a:t> $ 3.69</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C$2:$C$23</c:f>
              <c:numCache>
                <c:formatCode>General</c:formatCode>
                <c:ptCount val="22"/>
                <c:pt idx="0">
                  <c:v>0.0</c:v>
                </c:pt>
                <c:pt idx="1">
                  <c:v>5.32</c:v>
                </c:pt>
                <c:pt idx="2">
                  <c:v>5.41</c:v>
                </c:pt>
                <c:pt idx="3">
                  <c:v>5.26</c:v>
                </c:pt>
                <c:pt idx="4">
                  <c:v>4.88</c:v>
                </c:pt>
                <c:pt idx="5">
                  <c:v>4.53</c:v>
                </c:pt>
                <c:pt idx="6">
                  <c:v>4.42</c:v>
                </c:pt>
                <c:pt idx="7">
                  <c:v>4.38</c:v>
                </c:pt>
                <c:pt idx="8">
                  <c:v>4.4</c:v>
                </c:pt>
                <c:pt idx="9">
                  <c:v>4.33</c:v>
                </c:pt>
                <c:pt idx="10">
                  <c:v>4.23</c:v>
                </c:pt>
                <c:pt idx="11">
                  <c:v>4.22</c:v>
                </c:pt>
                <c:pt idx="12">
                  <c:v>4.25</c:v>
                </c:pt>
                <c:pt idx="13">
                  <c:v>4.26</c:v>
                </c:pt>
                <c:pt idx="14">
                  <c:v>4.17</c:v>
                </c:pt>
                <c:pt idx="15">
                  <c:v>3.87</c:v>
                </c:pt>
                <c:pt idx="16">
                  <c:v>3.83</c:v>
                </c:pt>
                <c:pt idx="17">
                  <c:v>3.81</c:v>
                </c:pt>
                <c:pt idx="18">
                  <c:v>3.79</c:v>
                </c:pt>
                <c:pt idx="19">
                  <c:v>3.81</c:v>
                </c:pt>
                <c:pt idx="20">
                  <c:v>3.77</c:v>
                </c:pt>
                <c:pt idx="21">
                  <c:v>3.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0,6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9,1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8,4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0636</c:v>
                </c:pt>
                <c:pt idx="1">
                  <c:v>232346</c:v>
                </c:pt>
                <c:pt idx="2">
                  <c:v>223657</c:v>
                </c:pt>
                <c:pt idx="3">
                  <c:v>193207</c:v>
                </c:pt>
                <c:pt idx="4">
                  <c:v>233842</c:v>
                </c:pt>
                <c:pt idx="5">
                  <c:v>196197</c:v>
                </c:pt>
                <c:pt idx="6">
                  <c:v>172512</c:v>
                </c:pt>
                <c:pt idx="7">
                  <c:v>193264</c:v>
                </c:pt>
                <c:pt idx="8">
                  <c:v>212983</c:v>
                </c:pt>
                <c:pt idx="9">
                  <c:v>215328</c:v>
                </c:pt>
                <c:pt idx="10">
                  <c:v>237259</c:v>
                </c:pt>
                <c:pt idx="11">
                  <c:v>327606</c:v>
                </c:pt>
                <c:pt idx="12">
                  <c:v>271249</c:v>
                </c:pt>
                <c:pt idx="13">
                  <c:v>199179</c:v>
                </c:pt>
                <c:pt idx="14">
                  <c:v>182784</c:v>
                </c:pt>
                <c:pt idx="15">
                  <c:v>168212</c:v>
                </c:pt>
                <c:pt idx="16">
                  <c:v>215237</c:v>
                </c:pt>
                <c:pt idx="17">
                  <c:v>171979</c:v>
                </c:pt>
                <c:pt idx="18">
                  <c:v>173866</c:v>
                </c:pt>
                <c:pt idx="19">
                  <c:v>224062</c:v>
                </c:pt>
                <c:pt idx="20">
                  <c:v>199917</c:v>
                </c:pt>
                <c:pt idx="21">
                  <c:v>218997</c:v>
                </c:pt>
                <c:pt idx="22">
                  <c:v>245414</c:v>
                </c:pt>
                <c:pt idx="23">
                  <c:v>241550</c:v>
                </c:pt>
                <c:pt idx="24">
                  <c:v>2584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5</c:v>
                </c:pt>
                <c:pt idx="1">
                  <c:v>3.49</c:v>
                </c:pt>
                <c:pt idx="2">
                  <c:v>3.31</c:v>
                </c:pt>
                <c:pt idx="3">
                  <c:v>3.33</c:v>
                </c:pt>
                <c:pt idx="4">
                  <c:v>3.35</c:v>
                </c:pt>
                <c:pt idx="5">
                  <c:v>3.1</c:v>
                </c:pt>
                <c:pt idx="6">
                  <c:v>3.05</c:v>
                </c:pt>
                <c:pt idx="7">
                  <c:v>3.14</c:v>
                </c:pt>
                <c:pt idx="8">
                  <c:v>3.27</c:v>
                </c:pt>
                <c:pt idx="9">
                  <c:v>3.25</c:v>
                </c:pt>
                <c:pt idx="10">
                  <c:v>3.24</c:v>
                </c:pt>
                <c:pt idx="11">
                  <c:v>3.39</c:v>
                </c:pt>
                <c:pt idx="12">
                  <c:v>3.18</c:v>
                </c:pt>
                <c:pt idx="13">
                  <c:v>3.12</c:v>
                </c:pt>
                <c:pt idx="14">
                  <c:v>3.08</c:v>
                </c:pt>
                <c:pt idx="15">
                  <c:v>3.06</c:v>
                </c:pt>
                <c:pt idx="16">
                  <c:v>3.08</c:v>
                </c:pt>
                <c:pt idx="17">
                  <c:v>3.0</c:v>
                </c:pt>
                <c:pt idx="18">
                  <c:v>3.01</c:v>
                </c:pt>
                <c:pt idx="19">
                  <c:v>3.13</c:v>
                </c:pt>
                <c:pt idx="20">
                  <c:v>3.09</c:v>
                </c:pt>
                <c:pt idx="21">
                  <c:v>3.07</c:v>
                </c:pt>
                <c:pt idx="22">
                  <c:v>3.06</c:v>
                </c:pt>
                <c:pt idx="23">
                  <c:v>3.03</c:v>
                </c:pt>
                <c:pt idx="24">
                  <c:v>3.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531,4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57,5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84,8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531444</c:v>
                </c:pt>
                <c:pt idx="1">
                  <c:v>1895670</c:v>
                </c:pt>
                <c:pt idx="2">
                  <c:v>1879155</c:v>
                </c:pt>
                <c:pt idx="3">
                  <c:v>1642070</c:v>
                </c:pt>
                <c:pt idx="4">
                  <c:v>1997000</c:v>
                </c:pt>
                <c:pt idx="5">
                  <c:v>1681313</c:v>
                </c:pt>
                <c:pt idx="6">
                  <c:v>1586052</c:v>
                </c:pt>
                <c:pt idx="7">
                  <c:v>1814883</c:v>
                </c:pt>
                <c:pt idx="8">
                  <c:v>1865062</c:v>
                </c:pt>
                <c:pt idx="9">
                  <c:v>2045067</c:v>
                </c:pt>
                <c:pt idx="10">
                  <c:v>2225960</c:v>
                </c:pt>
                <c:pt idx="11">
                  <c:v>2623640</c:v>
                </c:pt>
                <c:pt idx="12">
                  <c:v>2351351</c:v>
                </c:pt>
                <c:pt idx="13">
                  <c:v>1857524</c:v>
                </c:pt>
                <c:pt idx="14">
                  <c:v>1766300</c:v>
                </c:pt>
                <c:pt idx="15">
                  <c:v>1686891</c:v>
                </c:pt>
                <c:pt idx="16">
                  <c:v>2045547</c:v>
                </c:pt>
                <c:pt idx="17">
                  <c:v>1677699</c:v>
                </c:pt>
                <c:pt idx="18">
                  <c:v>1739540</c:v>
                </c:pt>
                <c:pt idx="19">
                  <c:v>2166030</c:v>
                </c:pt>
                <c:pt idx="20">
                  <c:v>1925197</c:v>
                </c:pt>
                <c:pt idx="21">
                  <c:v>2137102</c:v>
                </c:pt>
                <c:pt idx="22">
                  <c:v>2296371</c:v>
                </c:pt>
                <c:pt idx="23">
                  <c:v>2225089</c:v>
                </c:pt>
                <c:pt idx="24">
                  <c:v>23848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5</c:v>
                </c:pt>
                <c:pt idx="1">
                  <c:v>3.48</c:v>
                </c:pt>
                <c:pt idx="2">
                  <c:v>3.3</c:v>
                </c:pt>
                <c:pt idx="3">
                  <c:v>3.32</c:v>
                </c:pt>
                <c:pt idx="4">
                  <c:v>3.33</c:v>
                </c:pt>
                <c:pt idx="5">
                  <c:v>3.09</c:v>
                </c:pt>
                <c:pt idx="6">
                  <c:v>3.06</c:v>
                </c:pt>
                <c:pt idx="7">
                  <c:v>3.12</c:v>
                </c:pt>
                <c:pt idx="8">
                  <c:v>3.2</c:v>
                </c:pt>
                <c:pt idx="9">
                  <c:v>3.18</c:v>
                </c:pt>
                <c:pt idx="10">
                  <c:v>3.17</c:v>
                </c:pt>
                <c:pt idx="11">
                  <c:v>3.23</c:v>
                </c:pt>
                <c:pt idx="12">
                  <c:v>3.12</c:v>
                </c:pt>
                <c:pt idx="13">
                  <c:v>3.05</c:v>
                </c:pt>
                <c:pt idx="14">
                  <c:v>3.02</c:v>
                </c:pt>
                <c:pt idx="15">
                  <c:v>3.0</c:v>
                </c:pt>
                <c:pt idx="16">
                  <c:v>3.02</c:v>
                </c:pt>
                <c:pt idx="17">
                  <c:v>2.95</c:v>
                </c:pt>
                <c:pt idx="18">
                  <c:v>2.97</c:v>
                </c:pt>
                <c:pt idx="19">
                  <c:v>3.06</c:v>
                </c:pt>
                <c:pt idx="20">
                  <c:v>3.0</c:v>
                </c:pt>
                <c:pt idx="21">
                  <c:v>2.98</c:v>
                </c:pt>
                <c:pt idx="22">
                  <c:v>2.99</c:v>
                </c:pt>
                <c:pt idx="23">
                  <c:v>2.94</c:v>
                </c:pt>
                <c:pt idx="24">
                  <c:v>3.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8,8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7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7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8882</c:v>
                </c:pt>
                <c:pt idx="1">
                  <c:v>65437</c:v>
                </c:pt>
                <c:pt idx="2">
                  <c:v>64859</c:v>
                </c:pt>
                <c:pt idx="3">
                  <c:v>45965</c:v>
                </c:pt>
                <c:pt idx="4">
                  <c:v>56171</c:v>
                </c:pt>
                <c:pt idx="5">
                  <c:v>51374</c:v>
                </c:pt>
                <c:pt idx="6">
                  <c:v>15996</c:v>
                </c:pt>
                <c:pt idx="7">
                  <c:v>13071</c:v>
                </c:pt>
                <c:pt idx="8">
                  <c:v>10844</c:v>
                </c:pt>
                <c:pt idx="9">
                  <c:v>20162</c:v>
                </c:pt>
                <c:pt idx="10">
                  <c:v>30532</c:v>
                </c:pt>
                <c:pt idx="11">
                  <c:v>26129</c:v>
                </c:pt>
                <c:pt idx="12">
                  <c:v>12950</c:v>
                </c:pt>
                <c:pt idx="13">
                  <c:v>11722</c:v>
                </c:pt>
                <c:pt idx="14">
                  <c:v>17977</c:v>
                </c:pt>
                <c:pt idx="15">
                  <c:v>36145</c:v>
                </c:pt>
                <c:pt idx="16">
                  <c:v>20867</c:v>
                </c:pt>
                <c:pt idx="17">
                  <c:v>19778</c:v>
                </c:pt>
                <c:pt idx="18">
                  <c:v>20546</c:v>
                </c:pt>
                <c:pt idx="19">
                  <c:v>14325</c:v>
                </c:pt>
                <c:pt idx="20">
                  <c:v>20574</c:v>
                </c:pt>
                <c:pt idx="21">
                  <c:v>14268</c:v>
                </c:pt>
                <c:pt idx="22">
                  <c:v>11266</c:v>
                </c:pt>
                <c:pt idx="23">
                  <c:v>28446</c:v>
                </c:pt>
                <c:pt idx="24">
                  <c:v>147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6</c:v>
                </c:pt>
                <c:pt idx="1">
                  <c:v>4.65</c:v>
                </c:pt>
                <c:pt idx="2">
                  <c:v>4.26</c:v>
                </c:pt>
                <c:pt idx="3">
                  <c:v>4.26</c:v>
                </c:pt>
                <c:pt idx="4">
                  <c:v>4.55</c:v>
                </c:pt>
                <c:pt idx="5">
                  <c:v>4.23</c:v>
                </c:pt>
                <c:pt idx="6">
                  <c:v>4.07</c:v>
                </c:pt>
                <c:pt idx="7">
                  <c:v>3.02</c:v>
                </c:pt>
                <c:pt idx="8">
                  <c:v>2.7</c:v>
                </c:pt>
                <c:pt idx="9">
                  <c:v>1.71</c:v>
                </c:pt>
                <c:pt idx="10">
                  <c:v>1.69</c:v>
                </c:pt>
                <c:pt idx="11">
                  <c:v>1.52</c:v>
                </c:pt>
                <c:pt idx="12">
                  <c:v>1.45</c:v>
                </c:pt>
                <c:pt idx="13">
                  <c:v>1.67</c:v>
                </c:pt>
                <c:pt idx="14">
                  <c:v>1.96</c:v>
                </c:pt>
                <c:pt idx="15">
                  <c:v>1.84</c:v>
                </c:pt>
                <c:pt idx="16">
                  <c:v>1.72</c:v>
                </c:pt>
                <c:pt idx="17">
                  <c:v>1.98</c:v>
                </c:pt>
                <c:pt idx="18">
                  <c:v>1.93</c:v>
                </c:pt>
                <c:pt idx="19">
                  <c:v>3.04</c:v>
                </c:pt>
                <c:pt idx="20">
                  <c:v>2.61</c:v>
                </c:pt>
                <c:pt idx="21">
                  <c:v>2.75</c:v>
                </c:pt>
                <c:pt idx="22">
                  <c:v>3.12</c:v>
                </c:pt>
                <c:pt idx="23">
                  <c:v>1.87</c:v>
                </c:pt>
                <c:pt idx="24">
                  <c:v>3.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5,1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5,3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6,4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5155</c:v>
                </c:pt>
                <c:pt idx="1">
                  <c:v>640861</c:v>
                </c:pt>
                <c:pt idx="2">
                  <c:v>653854</c:v>
                </c:pt>
                <c:pt idx="3">
                  <c:v>564698</c:v>
                </c:pt>
                <c:pt idx="4">
                  <c:v>734491</c:v>
                </c:pt>
                <c:pt idx="5">
                  <c:v>619308</c:v>
                </c:pt>
                <c:pt idx="6">
                  <c:v>614652</c:v>
                </c:pt>
                <c:pt idx="7">
                  <c:v>1104036</c:v>
                </c:pt>
                <c:pt idx="8">
                  <c:v>730544</c:v>
                </c:pt>
                <c:pt idx="9">
                  <c:v>754051</c:v>
                </c:pt>
                <c:pt idx="10">
                  <c:v>773789</c:v>
                </c:pt>
                <c:pt idx="11">
                  <c:v>863660</c:v>
                </c:pt>
                <c:pt idx="12">
                  <c:v>730700</c:v>
                </c:pt>
                <c:pt idx="13">
                  <c:v>635320</c:v>
                </c:pt>
                <c:pt idx="14">
                  <c:v>621221</c:v>
                </c:pt>
                <c:pt idx="15">
                  <c:v>524070</c:v>
                </c:pt>
                <c:pt idx="16">
                  <c:v>652461</c:v>
                </c:pt>
                <c:pt idx="17">
                  <c:v>580661</c:v>
                </c:pt>
                <c:pt idx="18">
                  <c:v>573562</c:v>
                </c:pt>
                <c:pt idx="19">
                  <c:v>625479</c:v>
                </c:pt>
                <c:pt idx="20">
                  <c:v>555505</c:v>
                </c:pt>
                <c:pt idx="21">
                  <c:v>611506</c:v>
                </c:pt>
                <c:pt idx="22">
                  <c:v>725017</c:v>
                </c:pt>
                <c:pt idx="23">
                  <c:v>921135</c:v>
                </c:pt>
                <c:pt idx="24">
                  <c:v>7064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28</c:v>
                </c:pt>
                <c:pt idx="1">
                  <c:v>4.01</c:v>
                </c:pt>
                <c:pt idx="2">
                  <c:v>3.87</c:v>
                </c:pt>
                <c:pt idx="3">
                  <c:v>3.88</c:v>
                </c:pt>
                <c:pt idx="4">
                  <c:v>3.76</c:v>
                </c:pt>
                <c:pt idx="5">
                  <c:v>3.88</c:v>
                </c:pt>
                <c:pt idx="6">
                  <c:v>3.89</c:v>
                </c:pt>
                <c:pt idx="7">
                  <c:v>4.14</c:v>
                </c:pt>
                <c:pt idx="8">
                  <c:v>4.12</c:v>
                </c:pt>
                <c:pt idx="9">
                  <c:v>4.33</c:v>
                </c:pt>
                <c:pt idx="10">
                  <c:v>4.19</c:v>
                </c:pt>
                <c:pt idx="11">
                  <c:v>4.34</c:v>
                </c:pt>
                <c:pt idx="12">
                  <c:v>4.41</c:v>
                </c:pt>
                <c:pt idx="13">
                  <c:v>4.44</c:v>
                </c:pt>
                <c:pt idx="14">
                  <c:v>4.2</c:v>
                </c:pt>
                <c:pt idx="15">
                  <c:v>4.45</c:v>
                </c:pt>
                <c:pt idx="16">
                  <c:v>4.45</c:v>
                </c:pt>
                <c:pt idx="17">
                  <c:v>4.39</c:v>
                </c:pt>
                <c:pt idx="18">
                  <c:v>4.3</c:v>
                </c:pt>
                <c:pt idx="19">
                  <c:v>4.26</c:v>
                </c:pt>
                <c:pt idx="20">
                  <c:v>4.2</c:v>
                </c:pt>
                <c:pt idx="21">
                  <c:v>4.15</c:v>
                </c:pt>
                <c:pt idx="22">
                  <c:v>4.05</c:v>
                </c:pt>
                <c:pt idx="23">
                  <c:v>4.11</c:v>
                </c:pt>
                <c:pt idx="24">
                  <c:v>3.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98,2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691,9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515,9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498289</c:v>
                </c:pt>
                <c:pt idx="1">
                  <c:v>7779079</c:v>
                </c:pt>
                <c:pt idx="2">
                  <c:v>7985354</c:v>
                </c:pt>
                <c:pt idx="3">
                  <c:v>7580295</c:v>
                </c:pt>
                <c:pt idx="4">
                  <c:v>8072886</c:v>
                </c:pt>
                <c:pt idx="5">
                  <c:v>8403061</c:v>
                </c:pt>
                <c:pt idx="6">
                  <c:v>8082733</c:v>
                </c:pt>
                <c:pt idx="7">
                  <c:v>8441014</c:v>
                </c:pt>
                <c:pt idx="8">
                  <c:v>8286471</c:v>
                </c:pt>
                <c:pt idx="9">
                  <c:v>9131643</c:v>
                </c:pt>
                <c:pt idx="10">
                  <c:v>9606468</c:v>
                </c:pt>
                <c:pt idx="11">
                  <c:v>11432505</c:v>
                </c:pt>
                <c:pt idx="12">
                  <c:v>9617298</c:v>
                </c:pt>
                <c:pt idx="13">
                  <c:v>8691987</c:v>
                </c:pt>
                <c:pt idx="14">
                  <c:v>8964939</c:v>
                </c:pt>
                <c:pt idx="15">
                  <c:v>8618094</c:v>
                </c:pt>
                <c:pt idx="16">
                  <c:v>8465047</c:v>
                </c:pt>
                <c:pt idx="17">
                  <c:v>8591901</c:v>
                </c:pt>
                <c:pt idx="18">
                  <c:v>8701430</c:v>
                </c:pt>
                <c:pt idx="19">
                  <c:v>10319291</c:v>
                </c:pt>
                <c:pt idx="20">
                  <c:v>10468158</c:v>
                </c:pt>
                <c:pt idx="21">
                  <c:v>11017827</c:v>
                </c:pt>
                <c:pt idx="22">
                  <c:v>11359069</c:v>
                </c:pt>
                <c:pt idx="23">
                  <c:v>13437757</c:v>
                </c:pt>
                <c:pt idx="24">
                  <c:v>115159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4</c:v>
                </c:pt>
                <c:pt idx="1">
                  <c:v>2.34</c:v>
                </c:pt>
                <c:pt idx="2">
                  <c:v>2.24</c:v>
                </c:pt>
                <c:pt idx="3">
                  <c:v>2.22</c:v>
                </c:pt>
                <c:pt idx="4">
                  <c:v>2.41</c:v>
                </c:pt>
                <c:pt idx="5">
                  <c:v>2.48</c:v>
                </c:pt>
                <c:pt idx="6">
                  <c:v>2.24</c:v>
                </c:pt>
                <c:pt idx="7">
                  <c:v>2.41</c:v>
                </c:pt>
                <c:pt idx="8">
                  <c:v>2.42</c:v>
                </c:pt>
                <c:pt idx="9">
                  <c:v>2.28</c:v>
                </c:pt>
                <c:pt idx="10">
                  <c:v>2.36</c:v>
                </c:pt>
                <c:pt idx="11">
                  <c:v>2.22</c:v>
                </c:pt>
                <c:pt idx="12">
                  <c:v>2.37</c:v>
                </c:pt>
                <c:pt idx="13">
                  <c:v>2.33</c:v>
                </c:pt>
                <c:pt idx="14">
                  <c:v>2.25</c:v>
                </c:pt>
                <c:pt idx="15">
                  <c:v>2.2</c:v>
                </c:pt>
                <c:pt idx="16">
                  <c:v>2.26</c:v>
                </c:pt>
                <c:pt idx="17">
                  <c:v>2.2</c:v>
                </c:pt>
                <c:pt idx="18">
                  <c:v>2.24</c:v>
                </c:pt>
                <c:pt idx="19">
                  <c:v>2.22</c:v>
                </c:pt>
                <c:pt idx="20">
                  <c:v>2.3</c:v>
                </c:pt>
                <c:pt idx="21">
                  <c:v>2.31</c:v>
                </c:pt>
                <c:pt idx="22">
                  <c:v>2.31</c:v>
                </c:pt>
                <c:pt idx="23">
                  <c:v>2.2</c:v>
                </c:pt>
                <c:pt idx="24">
                  <c:v>2.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328,9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278,5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623,0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328948</c:v>
                </c:pt>
                <c:pt idx="1">
                  <c:v>13903942</c:v>
                </c:pt>
                <c:pt idx="2">
                  <c:v>13786870</c:v>
                </c:pt>
                <c:pt idx="3">
                  <c:v>12967761</c:v>
                </c:pt>
                <c:pt idx="4">
                  <c:v>14830612</c:v>
                </c:pt>
                <c:pt idx="5">
                  <c:v>11934438</c:v>
                </c:pt>
                <c:pt idx="6">
                  <c:v>11683988</c:v>
                </c:pt>
                <c:pt idx="7">
                  <c:v>13594828</c:v>
                </c:pt>
                <c:pt idx="8">
                  <c:v>13648220</c:v>
                </c:pt>
                <c:pt idx="9">
                  <c:v>15361788</c:v>
                </c:pt>
                <c:pt idx="10">
                  <c:v>16423620</c:v>
                </c:pt>
                <c:pt idx="11">
                  <c:v>16731661</c:v>
                </c:pt>
                <c:pt idx="12">
                  <c:v>15745765</c:v>
                </c:pt>
                <c:pt idx="13">
                  <c:v>13278527</c:v>
                </c:pt>
                <c:pt idx="14">
                  <c:v>13147419</c:v>
                </c:pt>
                <c:pt idx="15">
                  <c:v>12640339</c:v>
                </c:pt>
                <c:pt idx="16">
                  <c:v>15952610</c:v>
                </c:pt>
                <c:pt idx="17">
                  <c:v>11775781</c:v>
                </c:pt>
                <c:pt idx="18">
                  <c:v>12006458</c:v>
                </c:pt>
                <c:pt idx="19">
                  <c:v>13656793</c:v>
                </c:pt>
                <c:pt idx="20">
                  <c:v>13476069</c:v>
                </c:pt>
                <c:pt idx="21">
                  <c:v>15031920</c:v>
                </c:pt>
                <c:pt idx="22">
                  <c:v>16469975</c:v>
                </c:pt>
                <c:pt idx="23">
                  <c:v>16499725</c:v>
                </c:pt>
                <c:pt idx="24">
                  <c:v>1562302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2</c:v>
                </c:pt>
                <c:pt idx="1">
                  <c:v>1.01</c:v>
                </c:pt>
                <c:pt idx="2">
                  <c:v>1.0</c:v>
                </c:pt>
                <c:pt idx="3">
                  <c:v>0.99</c:v>
                </c:pt>
                <c:pt idx="4">
                  <c:v>0.99</c:v>
                </c:pt>
                <c:pt idx="5">
                  <c:v>0.97</c:v>
                </c:pt>
                <c:pt idx="6">
                  <c:v>1.01</c:v>
                </c:pt>
                <c:pt idx="7">
                  <c:v>1.03</c:v>
                </c:pt>
                <c:pt idx="8">
                  <c:v>1.06</c:v>
                </c:pt>
                <c:pt idx="9">
                  <c:v>1.08</c:v>
                </c:pt>
                <c:pt idx="10">
                  <c:v>1.09</c:v>
                </c:pt>
                <c:pt idx="11">
                  <c:v>1.09</c:v>
                </c:pt>
                <c:pt idx="12">
                  <c:v>1.07</c:v>
                </c:pt>
                <c:pt idx="13">
                  <c:v>1.06</c:v>
                </c:pt>
                <c:pt idx="14">
                  <c:v>1.05</c:v>
                </c:pt>
                <c:pt idx="15">
                  <c:v>1.06</c:v>
                </c:pt>
                <c:pt idx="16">
                  <c:v>1.11</c:v>
                </c:pt>
                <c:pt idx="17">
                  <c:v>1.01</c:v>
                </c:pt>
                <c:pt idx="18">
                  <c:v>1.0</c:v>
                </c:pt>
                <c:pt idx="19">
                  <c:v>1.02</c:v>
                </c:pt>
                <c:pt idx="20">
                  <c:v>1.03</c:v>
                </c:pt>
                <c:pt idx="21">
                  <c:v>1.05</c:v>
                </c:pt>
                <c:pt idx="22">
                  <c:v>1.07</c:v>
                </c:pt>
                <c:pt idx="23">
                  <c:v>1.06</c:v>
                </c:pt>
                <c:pt idx="24">
                  <c:v>1.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3,9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5,9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0,7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3995</c:v>
                </c:pt>
                <c:pt idx="1">
                  <c:v>123412</c:v>
                </c:pt>
                <c:pt idx="2">
                  <c:v>125653</c:v>
                </c:pt>
                <c:pt idx="3">
                  <c:v>122934</c:v>
                </c:pt>
                <c:pt idx="4">
                  <c:v>163609</c:v>
                </c:pt>
                <c:pt idx="5">
                  <c:v>128215</c:v>
                </c:pt>
                <c:pt idx="6">
                  <c:v>119225</c:v>
                </c:pt>
                <c:pt idx="7">
                  <c:v>149926</c:v>
                </c:pt>
                <c:pt idx="8">
                  <c:v>144384</c:v>
                </c:pt>
                <c:pt idx="9">
                  <c:v>144701</c:v>
                </c:pt>
                <c:pt idx="10">
                  <c:v>147166</c:v>
                </c:pt>
                <c:pt idx="11">
                  <c:v>147989</c:v>
                </c:pt>
                <c:pt idx="12">
                  <c:v>139790</c:v>
                </c:pt>
                <c:pt idx="13">
                  <c:v>125979</c:v>
                </c:pt>
                <c:pt idx="14">
                  <c:v>126843</c:v>
                </c:pt>
                <c:pt idx="15">
                  <c:v>122157</c:v>
                </c:pt>
                <c:pt idx="16">
                  <c:v>150469</c:v>
                </c:pt>
                <c:pt idx="17">
                  <c:v>119762</c:v>
                </c:pt>
                <c:pt idx="18">
                  <c:v>115150</c:v>
                </c:pt>
                <c:pt idx="19">
                  <c:v>128279</c:v>
                </c:pt>
                <c:pt idx="20">
                  <c:v>118963</c:v>
                </c:pt>
                <c:pt idx="21">
                  <c:v>125502</c:v>
                </c:pt>
                <c:pt idx="22">
                  <c:v>125790</c:v>
                </c:pt>
                <c:pt idx="23">
                  <c:v>121725</c:v>
                </c:pt>
                <c:pt idx="24">
                  <c:v>11075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7</c:v>
                </c:pt>
                <c:pt idx="1">
                  <c:v>3.83</c:v>
                </c:pt>
                <c:pt idx="2">
                  <c:v>3.68</c:v>
                </c:pt>
                <c:pt idx="3">
                  <c:v>3.32</c:v>
                </c:pt>
                <c:pt idx="4">
                  <c:v>2.31</c:v>
                </c:pt>
                <c:pt idx="5">
                  <c:v>3.41</c:v>
                </c:pt>
                <c:pt idx="6">
                  <c:v>3.66</c:v>
                </c:pt>
                <c:pt idx="7">
                  <c:v>3.48</c:v>
                </c:pt>
                <c:pt idx="8">
                  <c:v>3.5</c:v>
                </c:pt>
                <c:pt idx="9">
                  <c:v>3.6</c:v>
                </c:pt>
                <c:pt idx="10">
                  <c:v>3.6</c:v>
                </c:pt>
                <c:pt idx="11">
                  <c:v>3.53</c:v>
                </c:pt>
                <c:pt idx="12">
                  <c:v>3.47</c:v>
                </c:pt>
                <c:pt idx="13">
                  <c:v>3.41</c:v>
                </c:pt>
                <c:pt idx="14">
                  <c:v>3.39</c:v>
                </c:pt>
                <c:pt idx="15">
                  <c:v>3.38</c:v>
                </c:pt>
                <c:pt idx="16">
                  <c:v>3.03</c:v>
                </c:pt>
                <c:pt idx="17">
                  <c:v>3.34</c:v>
                </c:pt>
                <c:pt idx="18">
                  <c:v>3.38</c:v>
                </c:pt>
                <c:pt idx="19">
                  <c:v>3.39</c:v>
                </c:pt>
                <c:pt idx="20">
                  <c:v>3.28</c:v>
                </c:pt>
                <c:pt idx="21">
                  <c:v>3.24</c:v>
                </c:pt>
                <c:pt idx="22">
                  <c:v>3.25</c:v>
                </c:pt>
                <c:pt idx="23">
                  <c:v>3.12</c:v>
                </c:pt>
                <c:pt idx="24">
                  <c:v>3.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68,0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50,2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18,9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168015</c:v>
                </c:pt>
                <c:pt idx="1">
                  <c:v>1827401</c:v>
                </c:pt>
                <c:pt idx="2">
                  <c:v>1930692</c:v>
                </c:pt>
                <c:pt idx="3">
                  <c:v>2138395</c:v>
                </c:pt>
                <c:pt idx="4">
                  <c:v>3342063</c:v>
                </c:pt>
                <c:pt idx="5">
                  <c:v>1959150</c:v>
                </c:pt>
                <c:pt idx="6">
                  <c:v>2047171</c:v>
                </c:pt>
                <c:pt idx="7">
                  <c:v>2514049</c:v>
                </c:pt>
                <c:pt idx="8">
                  <c:v>2356533</c:v>
                </c:pt>
                <c:pt idx="9">
                  <c:v>2458140</c:v>
                </c:pt>
                <c:pt idx="10">
                  <c:v>2570563</c:v>
                </c:pt>
                <c:pt idx="11">
                  <c:v>2639068</c:v>
                </c:pt>
                <c:pt idx="12">
                  <c:v>2492570</c:v>
                </c:pt>
                <c:pt idx="13">
                  <c:v>2150211</c:v>
                </c:pt>
                <c:pt idx="14">
                  <c:v>2217573</c:v>
                </c:pt>
                <c:pt idx="15">
                  <c:v>2248842</c:v>
                </c:pt>
                <c:pt idx="16">
                  <c:v>3096789</c:v>
                </c:pt>
                <c:pt idx="17">
                  <c:v>1760673</c:v>
                </c:pt>
                <c:pt idx="18">
                  <c:v>1645885</c:v>
                </c:pt>
                <c:pt idx="19">
                  <c:v>1948113</c:v>
                </c:pt>
                <c:pt idx="20">
                  <c:v>1723736</c:v>
                </c:pt>
                <c:pt idx="21">
                  <c:v>1899087</c:v>
                </c:pt>
                <c:pt idx="22">
                  <c:v>1979098</c:v>
                </c:pt>
                <c:pt idx="23">
                  <c:v>1960469</c:v>
                </c:pt>
                <c:pt idx="24">
                  <c:v>18189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2</c:v>
                </c:pt>
                <c:pt idx="1">
                  <c:v>3.67</c:v>
                </c:pt>
                <c:pt idx="2">
                  <c:v>3.45</c:v>
                </c:pt>
                <c:pt idx="3">
                  <c:v>3.06</c:v>
                </c:pt>
                <c:pt idx="4">
                  <c:v>2.44</c:v>
                </c:pt>
                <c:pt idx="5">
                  <c:v>3.08</c:v>
                </c:pt>
                <c:pt idx="6">
                  <c:v>3.3</c:v>
                </c:pt>
                <c:pt idx="7">
                  <c:v>3.24</c:v>
                </c:pt>
                <c:pt idx="8">
                  <c:v>3.28</c:v>
                </c:pt>
                <c:pt idx="9">
                  <c:v>3.37</c:v>
                </c:pt>
                <c:pt idx="10">
                  <c:v>3.41</c:v>
                </c:pt>
                <c:pt idx="11">
                  <c:v>3.37</c:v>
                </c:pt>
                <c:pt idx="12">
                  <c:v>3.29</c:v>
                </c:pt>
                <c:pt idx="13">
                  <c:v>3.29</c:v>
                </c:pt>
                <c:pt idx="14">
                  <c:v>3.24</c:v>
                </c:pt>
                <c:pt idx="15">
                  <c:v>3.23</c:v>
                </c:pt>
                <c:pt idx="16">
                  <c:v>3.07</c:v>
                </c:pt>
                <c:pt idx="17">
                  <c:v>3.08</c:v>
                </c:pt>
                <c:pt idx="18">
                  <c:v>3.38</c:v>
                </c:pt>
                <c:pt idx="19">
                  <c:v>3.39</c:v>
                </c:pt>
                <c:pt idx="20">
                  <c:v>3.3</c:v>
                </c:pt>
                <c:pt idx="21">
                  <c:v>3.24</c:v>
                </c:pt>
                <c:pt idx="22">
                  <c:v>3.2</c:v>
                </c:pt>
                <c:pt idx="23">
                  <c:v>3.2</c:v>
                </c:pt>
                <c:pt idx="24">
                  <c:v>3.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3,6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2,7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5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3674</c:v>
                </c:pt>
                <c:pt idx="1">
                  <c:v>57500</c:v>
                </c:pt>
                <c:pt idx="2">
                  <c:v>52948</c:v>
                </c:pt>
                <c:pt idx="3">
                  <c:v>60779</c:v>
                </c:pt>
                <c:pt idx="4">
                  <c:v>64733</c:v>
                </c:pt>
                <c:pt idx="5">
                  <c:v>64312</c:v>
                </c:pt>
                <c:pt idx="6">
                  <c:v>47122</c:v>
                </c:pt>
                <c:pt idx="7">
                  <c:v>31360</c:v>
                </c:pt>
                <c:pt idx="8">
                  <c:v>34650</c:v>
                </c:pt>
                <c:pt idx="9">
                  <c:v>44920</c:v>
                </c:pt>
                <c:pt idx="10">
                  <c:v>41020</c:v>
                </c:pt>
                <c:pt idx="11">
                  <c:v>33317</c:v>
                </c:pt>
                <c:pt idx="12">
                  <c:v>61192</c:v>
                </c:pt>
                <c:pt idx="13">
                  <c:v>52741</c:v>
                </c:pt>
                <c:pt idx="14">
                  <c:v>41683</c:v>
                </c:pt>
                <c:pt idx="15">
                  <c:v>48499</c:v>
                </c:pt>
                <c:pt idx="16">
                  <c:v>35761</c:v>
                </c:pt>
                <c:pt idx="17">
                  <c:v>62906</c:v>
                </c:pt>
                <c:pt idx="18">
                  <c:v>53013</c:v>
                </c:pt>
                <c:pt idx="19">
                  <c:v>61581</c:v>
                </c:pt>
                <c:pt idx="20">
                  <c:v>55745</c:v>
                </c:pt>
                <c:pt idx="21">
                  <c:v>50536</c:v>
                </c:pt>
                <c:pt idx="22">
                  <c:v>43338</c:v>
                </c:pt>
                <c:pt idx="23">
                  <c:v>57181</c:v>
                </c:pt>
                <c:pt idx="24">
                  <c:v>435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05</c:v>
                </c:pt>
                <c:pt idx="1">
                  <c:v>3.54</c:v>
                </c:pt>
                <c:pt idx="2">
                  <c:v>2.76</c:v>
                </c:pt>
                <c:pt idx="3">
                  <c:v>3.58</c:v>
                </c:pt>
                <c:pt idx="4">
                  <c:v>3.77</c:v>
                </c:pt>
                <c:pt idx="5">
                  <c:v>3.14</c:v>
                </c:pt>
                <c:pt idx="6">
                  <c:v>3.76</c:v>
                </c:pt>
                <c:pt idx="7">
                  <c:v>3.16</c:v>
                </c:pt>
                <c:pt idx="8">
                  <c:v>3.57</c:v>
                </c:pt>
                <c:pt idx="9">
                  <c:v>4.01</c:v>
                </c:pt>
                <c:pt idx="10">
                  <c:v>3.71</c:v>
                </c:pt>
                <c:pt idx="11">
                  <c:v>3.29</c:v>
                </c:pt>
                <c:pt idx="12">
                  <c:v>3.72</c:v>
                </c:pt>
                <c:pt idx="13">
                  <c:v>3.28</c:v>
                </c:pt>
                <c:pt idx="14">
                  <c:v>3.37</c:v>
                </c:pt>
                <c:pt idx="15">
                  <c:v>3.1</c:v>
                </c:pt>
                <c:pt idx="16">
                  <c:v>2.95</c:v>
                </c:pt>
                <c:pt idx="17">
                  <c:v>3.43</c:v>
                </c:pt>
                <c:pt idx="18">
                  <c:v>3.39</c:v>
                </c:pt>
                <c:pt idx="19">
                  <c:v>3.59</c:v>
                </c:pt>
                <c:pt idx="20">
                  <c:v>3.17</c:v>
                </c:pt>
                <c:pt idx="21">
                  <c:v>3.06</c:v>
                </c:pt>
                <c:pt idx="22">
                  <c:v>3.28</c:v>
                </c:pt>
                <c:pt idx="23">
                  <c:v>3.08</c:v>
                </c:pt>
                <c:pt idx="24">
                  <c:v>3.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58,6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8,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48,6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58658</c:v>
                </c:pt>
                <c:pt idx="1">
                  <c:v>526739</c:v>
                </c:pt>
                <c:pt idx="2">
                  <c:v>529590</c:v>
                </c:pt>
                <c:pt idx="3">
                  <c:v>436975</c:v>
                </c:pt>
                <c:pt idx="4">
                  <c:v>472074</c:v>
                </c:pt>
                <c:pt idx="5">
                  <c:v>466296</c:v>
                </c:pt>
                <c:pt idx="6">
                  <c:v>390141</c:v>
                </c:pt>
                <c:pt idx="7">
                  <c:v>439647</c:v>
                </c:pt>
                <c:pt idx="8">
                  <c:v>462406</c:v>
                </c:pt>
                <c:pt idx="9">
                  <c:v>493785</c:v>
                </c:pt>
                <c:pt idx="10">
                  <c:v>490968</c:v>
                </c:pt>
                <c:pt idx="11">
                  <c:v>461996</c:v>
                </c:pt>
                <c:pt idx="12">
                  <c:v>434401</c:v>
                </c:pt>
                <c:pt idx="13">
                  <c:v>468604</c:v>
                </c:pt>
                <c:pt idx="14">
                  <c:v>488481</c:v>
                </c:pt>
                <c:pt idx="15">
                  <c:v>429775</c:v>
                </c:pt>
                <c:pt idx="16">
                  <c:v>314252</c:v>
                </c:pt>
                <c:pt idx="17">
                  <c:v>273184</c:v>
                </c:pt>
                <c:pt idx="18">
                  <c:v>266156</c:v>
                </c:pt>
                <c:pt idx="19">
                  <c:v>356983</c:v>
                </c:pt>
                <c:pt idx="20">
                  <c:v>458142</c:v>
                </c:pt>
                <c:pt idx="21">
                  <c:v>476165</c:v>
                </c:pt>
                <c:pt idx="22">
                  <c:v>539965</c:v>
                </c:pt>
                <c:pt idx="23">
                  <c:v>892977</c:v>
                </c:pt>
                <c:pt idx="24">
                  <c:v>6486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51</c:v>
                </c:pt>
                <c:pt idx="1">
                  <c:v>3.56</c:v>
                </c:pt>
                <c:pt idx="2">
                  <c:v>3.52</c:v>
                </c:pt>
                <c:pt idx="3">
                  <c:v>3.51</c:v>
                </c:pt>
                <c:pt idx="4">
                  <c:v>3.84</c:v>
                </c:pt>
                <c:pt idx="5">
                  <c:v>3.77</c:v>
                </c:pt>
                <c:pt idx="6">
                  <c:v>3.85</c:v>
                </c:pt>
                <c:pt idx="7">
                  <c:v>3.8</c:v>
                </c:pt>
                <c:pt idx="8">
                  <c:v>3.85</c:v>
                </c:pt>
                <c:pt idx="9">
                  <c:v>3.94</c:v>
                </c:pt>
                <c:pt idx="10">
                  <c:v>3.98</c:v>
                </c:pt>
                <c:pt idx="11">
                  <c:v>3.84</c:v>
                </c:pt>
                <c:pt idx="12">
                  <c:v>3.48</c:v>
                </c:pt>
                <c:pt idx="13">
                  <c:v>3.34</c:v>
                </c:pt>
                <c:pt idx="14">
                  <c:v>2.83</c:v>
                </c:pt>
                <c:pt idx="15">
                  <c:v>3.03</c:v>
                </c:pt>
                <c:pt idx="16">
                  <c:v>3.63</c:v>
                </c:pt>
                <c:pt idx="17">
                  <c:v>3.64</c:v>
                </c:pt>
                <c:pt idx="18">
                  <c:v>3.57</c:v>
                </c:pt>
                <c:pt idx="19">
                  <c:v>3.51</c:v>
                </c:pt>
                <c:pt idx="20">
                  <c:v>3.25</c:v>
                </c:pt>
                <c:pt idx="21">
                  <c:v>3.12</c:v>
                </c:pt>
                <c:pt idx="22">
                  <c:v>3.36</c:v>
                </c:pt>
                <c:pt idx="23">
                  <c:v>3.27</c:v>
                </c:pt>
                <c:pt idx="24">
                  <c:v>3.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0,6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90,8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9,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0614</c:v>
                </c:pt>
                <c:pt idx="1">
                  <c:v>708090</c:v>
                </c:pt>
                <c:pt idx="2">
                  <c:v>770634</c:v>
                </c:pt>
                <c:pt idx="3">
                  <c:v>604619</c:v>
                </c:pt>
                <c:pt idx="4">
                  <c:v>676790</c:v>
                </c:pt>
                <c:pt idx="5">
                  <c:v>597698</c:v>
                </c:pt>
                <c:pt idx="6">
                  <c:v>608288</c:v>
                </c:pt>
                <c:pt idx="7">
                  <c:v>1054794</c:v>
                </c:pt>
                <c:pt idx="8">
                  <c:v>850355</c:v>
                </c:pt>
                <c:pt idx="9">
                  <c:v>868156</c:v>
                </c:pt>
                <c:pt idx="10">
                  <c:v>960803</c:v>
                </c:pt>
                <c:pt idx="11">
                  <c:v>945460</c:v>
                </c:pt>
                <c:pt idx="12">
                  <c:v>874380</c:v>
                </c:pt>
                <c:pt idx="13">
                  <c:v>690804</c:v>
                </c:pt>
                <c:pt idx="14">
                  <c:v>671674</c:v>
                </c:pt>
                <c:pt idx="15">
                  <c:v>553794</c:v>
                </c:pt>
                <c:pt idx="16">
                  <c:v>640498</c:v>
                </c:pt>
                <c:pt idx="17">
                  <c:v>524967</c:v>
                </c:pt>
                <c:pt idx="18">
                  <c:v>536562</c:v>
                </c:pt>
                <c:pt idx="19">
                  <c:v>649217</c:v>
                </c:pt>
                <c:pt idx="20">
                  <c:v>639344</c:v>
                </c:pt>
                <c:pt idx="21">
                  <c:v>719017</c:v>
                </c:pt>
                <c:pt idx="22">
                  <c:v>786461</c:v>
                </c:pt>
                <c:pt idx="23">
                  <c:v>829119</c:v>
                </c:pt>
                <c:pt idx="24">
                  <c:v>7794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8</c:v>
                </c:pt>
                <c:pt idx="1">
                  <c:v>5.28</c:v>
                </c:pt>
                <c:pt idx="2">
                  <c:v>5.0</c:v>
                </c:pt>
                <c:pt idx="3">
                  <c:v>5.07</c:v>
                </c:pt>
                <c:pt idx="4">
                  <c:v>5.21</c:v>
                </c:pt>
                <c:pt idx="5">
                  <c:v>5.3</c:v>
                </c:pt>
                <c:pt idx="6">
                  <c:v>5.2</c:v>
                </c:pt>
                <c:pt idx="7">
                  <c:v>5.41</c:v>
                </c:pt>
                <c:pt idx="8">
                  <c:v>5.59</c:v>
                </c:pt>
                <c:pt idx="9">
                  <c:v>5.54</c:v>
                </c:pt>
                <c:pt idx="10">
                  <c:v>5.32</c:v>
                </c:pt>
                <c:pt idx="11">
                  <c:v>5.76</c:v>
                </c:pt>
                <c:pt idx="12">
                  <c:v>5.42</c:v>
                </c:pt>
                <c:pt idx="13">
                  <c:v>5.77</c:v>
                </c:pt>
                <c:pt idx="14">
                  <c:v>5.49</c:v>
                </c:pt>
                <c:pt idx="15">
                  <c:v>5.59</c:v>
                </c:pt>
                <c:pt idx="16">
                  <c:v>5.66</c:v>
                </c:pt>
                <c:pt idx="17">
                  <c:v>5.75</c:v>
                </c:pt>
                <c:pt idx="18">
                  <c:v>5.57</c:v>
                </c:pt>
                <c:pt idx="19">
                  <c:v>5.71</c:v>
                </c:pt>
                <c:pt idx="20">
                  <c:v>5.34</c:v>
                </c:pt>
                <c:pt idx="21">
                  <c:v>5.29</c:v>
                </c:pt>
                <c:pt idx="22">
                  <c:v>5.35</c:v>
                </c:pt>
                <c:pt idx="23">
                  <c:v>5.49</c:v>
                </c:pt>
                <c:pt idx="24">
                  <c:v>5.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0,4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5,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0,2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0482</c:v>
                </c:pt>
                <c:pt idx="1">
                  <c:v>282074</c:v>
                </c:pt>
                <c:pt idx="2">
                  <c:v>309939</c:v>
                </c:pt>
                <c:pt idx="3">
                  <c:v>333866</c:v>
                </c:pt>
                <c:pt idx="4">
                  <c:v>374731</c:v>
                </c:pt>
                <c:pt idx="5">
                  <c:v>245047</c:v>
                </c:pt>
                <c:pt idx="6">
                  <c:v>238892</c:v>
                </c:pt>
                <c:pt idx="7">
                  <c:v>279510</c:v>
                </c:pt>
                <c:pt idx="8">
                  <c:v>287729</c:v>
                </c:pt>
                <c:pt idx="9">
                  <c:v>312361</c:v>
                </c:pt>
                <c:pt idx="10">
                  <c:v>322916</c:v>
                </c:pt>
                <c:pt idx="11">
                  <c:v>340569</c:v>
                </c:pt>
                <c:pt idx="12">
                  <c:v>317825</c:v>
                </c:pt>
                <c:pt idx="13">
                  <c:v>265779</c:v>
                </c:pt>
                <c:pt idx="14">
                  <c:v>274472</c:v>
                </c:pt>
                <c:pt idx="15">
                  <c:v>283625</c:v>
                </c:pt>
                <c:pt idx="16">
                  <c:v>369108</c:v>
                </c:pt>
                <c:pt idx="17">
                  <c:v>212789</c:v>
                </c:pt>
                <c:pt idx="18">
                  <c:v>231046</c:v>
                </c:pt>
                <c:pt idx="19">
                  <c:v>266561</c:v>
                </c:pt>
                <c:pt idx="20">
                  <c:v>252780</c:v>
                </c:pt>
                <c:pt idx="21">
                  <c:v>271823</c:v>
                </c:pt>
                <c:pt idx="22">
                  <c:v>297379</c:v>
                </c:pt>
                <c:pt idx="23">
                  <c:v>305948</c:v>
                </c:pt>
                <c:pt idx="24">
                  <c:v>2802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2</c:v>
                </c:pt>
                <c:pt idx="1">
                  <c:v>3.93</c:v>
                </c:pt>
                <c:pt idx="2">
                  <c:v>3.82</c:v>
                </c:pt>
                <c:pt idx="3">
                  <c:v>3.74</c:v>
                </c:pt>
                <c:pt idx="4">
                  <c:v>3.67</c:v>
                </c:pt>
                <c:pt idx="5">
                  <c:v>3.72</c:v>
                </c:pt>
                <c:pt idx="6">
                  <c:v>4.01</c:v>
                </c:pt>
                <c:pt idx="7">
                  <c:v>4.13</c:v>
                </c:pt>
                <c:pt idx="8">
                  <c:v>4.25</c:v>
                </c:pt>
                <c:pt idx="9">
                  <c:v>4.33</c:v>
                </c:pt>
                <c:pt idx="10">
                  <c:v>4.26</c:v>
                </c:pt>
                <c:pt idx="11">
                  <c:v>4.27</c:v>
                </c:pt>
                <c:pt idx="12">
                  <c:v>4.2</c:v>
                </c:pt>
                <c:pt idx="13">
                  <c:v>4.19</c:v>
                </c:pt>
                <c:pt idx="14">
                  <c:v>4.08</c:v>
                </c:pt>
                <c:pt idx="15">
                  <c:v>3.99</c:v>
                </c:pt>
                <c:pt idx="16">
                  <c:v>3.63</c:v>
                </c:pt>
                <c:pt idx="17">
                  <c:v>3.7</c:v>
                </c:pt>
                <c:pt idx="18">
                  <c:v>4.07</c:v>
                </c:pt>
                <c:pt idx="19">
                  <c:v>4.05</c:v>
                </c:pt>
                <c:pt idx="20">
                  <c:v>4.04</c:v>
                </c:pt>
                <c:pt idx="21">
                  <c:v>4.07</c:v>
                </c:pt>
                <c:pt idx="22">
                  <c:v>4.09</c:v>
                </c:pt>
                <c:pt idx="23">
                  <c:v>4.1</c:v>
                </c:pt>
                <c:pt idx="24">
                  <c:v>4.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5,7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0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3,9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5751</c:v>
                </c:pt>
                <c:pt idx="1">
                  <c:v>99492</c:v>
                </c:pt>
                <c:pt idx="2">
                  <c:v>108838</c:v>
                </c:pt>
                <c:pt idx="3">
                  <c:v>111281</c:v>
                </c:pt>
                <c:pt idx="4">
                  <c:v>122355</c:v>
                </c:pt>
                <c:pt idx="5">
                  <c:v>96233</c:v>
                </c:pt>
                <c:pt idx="6">
                  <c:v>84056</c:v>
                </c:pt>
                <c:pt idx="7">
                  <c:v>98562</c:v>
                </c:pt>
                <c:pt idx="8">
                  <c:v>95400</c:v>
                </c:pt>
                <c:pt idx="9">
                  <c:v>103424</c:v>
                </c:pt>
                <c:pt idx="10">
                  <c:v>99653</c:v>
                </c:pt>
                <c:pt idx="11">
                  <c:v>101078</c:v>
                </c:pt>
                <c:pt idx="12">
                  <c:v>93106</c:v>
                </c:pt>
                <c:pt idx="13">
                  <c:v>85011</c:v>
                </c:pt>
                <c:pt idx="14">
                  <c:v>83814</c:v>
                </c:pt>
                <c:pt idx="15">
                  <c:v>78933</c:v>
                </c:pt>
                <c:pt idx="16">
                  <c:v>105010</c:v>
                </c:pt>
                <c:pt idx="17">
                  <c:v>72867</c:v>
                </c:pt>
                <c:pt idx="18">
                  <c:v>75890</c:v>
                </c:pt>
                <c:pt idx="19">
                  <c:v>89108</c:v>
                </c:pt>
                <c:pt idx="20">
                  <c:v>84950</c:v>
                </c:pt>
                <c:pt idx="21">
                  <c:v>87197</c:v>
                </c:pt>
                <c:pt idx="22">
                  <c:v>90695</c:v>
                </c:pt>
                <c:pt idx="23">
                  <c:v>89172</c:v>
                </c:pt>
                <c:pt idx="24">
                  <c:v>839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1</c:v>
                </c:pt>
                <c:pt idx="1">
                  <c:v>3.81</c:v>
                </c:pt>
                <c:pt idx="2">
                  <c:v>3.74</c:v>
                </c:pt>
                <c:pt idx="3">
                  <c:v>3.67</c:v>
                </c:pt>
                <c:pt idx="4">
                  <c:v>3.44</c:v>
                </c:pt>
                <c:pt idx="5">
                  <c:v>3.07</c:v>
                </c:pt>
                <c:pt idx="6">
                  <c:v>3.59</c:v>
                </c:pt>
                <c:pt idx="7">
                  <c:v>3.93</c:v>
                </c:pt>
                <c:pt idx="8">
                  <c:v>3.99</c:v>
                </c:pt>
                <c:pt idx="9">
                  <c:v>4.11</c:v>
                </c:pt>
                <c:pt idx="10">
                  <c:v>4.05</c:v>
                </c:pt>
                <c:pt idx="11">
                  <c:v>4.05</c:v>
                </c:pt>
                <c:pt idx="12">
                  <c:v>4.01</c:v>
                </c:pt>
                <c:pt idx="13">
                  <c:v>4.06</c:v>
                </c:pt>
                <c:pt idx="14">
                  <c:v>4.04</c:v>
                </c:pt>
                <c:pt idx="15">
                  <c:v>3.98</c:v>
                </c:pt>
                <c:pt idx="16">
                  <c:v>3.29</c:v>
                </c:pt>
                <c:pt idx="17">
                  <c:v>3.6</c:v>
                </c:pt>
                <c:pt idx="18">
                  <c:v>3.97</c:v>
                </c:pt>
                <c:pt idx="19">
                  <c:v>3.92</c:v>
                </c:pt>
                <c:pt idx="20">
                  <c:v>3.89</c:v>
                </c:pt>
                <c:pt idx="21">
                  <c:v>3.96</c:v>
                </c:pt>
                <c:pt idx="22">
                  <c:v>3.97</c:v>
                </c:pt>
                <c:pt idx="23">
                  <c:v>3.98</c:v>
                </c:pt>
                <c:pt idx="24">
                  <c:v>3.9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52,6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27,8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40,0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52690</c:v>
                </c:pt>
                <c:pt idx="1">
                  <c:v>1938892</c:v>
                </c:pt>
                <c:pt idx="2">
                  <c:v>2087669</c:v>
                </c:pt>
                <c:pt idx="3">
                  <c:v>2158265</c:v>
                </c:pt>
                <c:pt idx="4">
                  <c:v>2470001</c:v>
                </c:pt>
                <c:pt idx="5">
                  <c:v>1640252</c:v>
                </c:pt>
                <c:pt idx="6">
                  <c:v>1746662</c:v>
                </c:pt>
                <c:pt idx="7">
                  <c:v>2097916</c:v>
                </c:pt>
                <c:pt idx="8">
                  <c:v>2024305</c:v>
                </c:pt>
                <c:pt idx="9">
                  <c:v>2226027</c:v>
                </c:pt>
                <c:pt idx="10">
                  <c:v>2283998</c:v>
                </c:pt>
                <c:pt idx="11">
                  <c:v>2287622</c:v>
                </c:pt>
                <c:pt idx="12">
                  <c:v>2148713</c:v>
                </c:pt>
                <c:pt idx="13">
                  <c:v>1827801</c:v>
                </c:pt>
                <c:pt idx="14">
                  <c:v>1900825</c:v>
                </c:pt>
                <c:pt idx="15">
                  <c:v>1895079</c:v>
                </c:pt>
                <c:pt idx="16">
                  <c:v>2578788</c:v>
                </c:pt>
                <c:pt idx="17">
                  <c:v>1471317</c:v>
                </c:pt>
                <c:pt idx="18">
                  <c:v>1649641</c:v>
                </c:pt>
                <c:pt idx="19">
                  <c:v>1900425</c:v>
                </c:pt>
                <c:pt idx="20">
                  <c:v>1798416</c:v>
                </c:pt>
                <c:pt idx="21">
                  <c:v>1940079</c:v>
                </c:pt>
                <c:pt idx="22">
                  <c:v>2081117</c:v>
                </c:pt>
                <c:pt idx="23">
                  <c:v>2087425</c:v>
                </c:pt>
                <c:pt idx="24">
                  <c:v>194008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8</c:v>
                </c:pt>
                <c:pt idx="1">
                  <c:v>3.99</c:v>
                </c:pt>
                <c:pt idx="2">
                  <c:v>3.88</c:v>
                </c:pt>
                <c:pt idx="3">
                  <c:v>3.78</c:v>
                </c:pt>
                <c:pt idx="4">
                  <c:v>3.72</c:v>
                </c:pt>
                <c:pt idx="5">
                  <c:v>3.88</c:v>
                </c:pt>
                <c:pt idx="6">
                  <c:v>4.07</c:v>
                </c:pt>
                <c:pt idx="7">
                  <c:v>4.18</c:v>
                </c:pt>
                <c:pt idx="8">
                  <c:v>4.25</c:v>
                </c:pt>
                <c:pt idx="9">
                  <c:v>4.33</c:v>
                </c:pt>
                <c:pt idx="10">
                  <c:v>4.29</c:v>
                </c:pt>
                <c:pt idx="11">
                  <c:v>4.29</c:v>
                </c:pt>
                <c:pt idx="12">
                  <c:v>4.2</c:v>
                </c:pt>
                <c:pt idx="13">
                  <c:v>4.18</c:v>
                </c:pt>
                <c:pt idx="14">
                  <c:v>4.08</c:v>
                </c:pt>
                <c:pt idx="15">
                  <c:v>4.01</c:v>
                </c:pt>
                <c:pt idx="16">
                  <c:v>3.59</c:v>
                </c:pt>
                <c:pt idx="17">
                  <c:v>3.7</c:v>
                </c:pt>
                <c:pt idx="18">
                  <c:v>4.11</c:v>
                </c:pt>
                <c:pt idx="19">
                  <c:v>4.1</c:v>
                </c:pt>
                <c:pt idx="20">
                  <c:v>4.1</c:v>
                </c:pt>
                <c:pt idx="21">
                  <c:v>4.12</c:v>
                </c:pt>
                <c:pt idx="22">
                  <c:v>4.13</c:v>
                </c:pt>
                <c:pt idx="23">
                  <c:v>4.14</c:v>
                </c:pt>
                <c:pt idx="24">
                  <c:v>4.1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115,4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825,7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686,7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7115458</c:v>
                </c:pt>
                <c:pt idx="1">
                  <c:v>14099013</c:v>
                </c:pt>
                <c:pt idx="2">
                  <c:v>14262124</c:v>
                </c:pt>
                <c:pt idx="3">
                  <c:v>13658160</c:v>
                </c:pt>
                <c:pt idx="4">
                  <c:v>16603109</c:v>
                </c:pt>
                <c:pt idx="5">
                  <c:v>12638772</c:v>
                </c:pt>
                <c:pt idx="6">
                  <c:v>12445663</c:v>
                </c:pt>
                <c:pt idx="7">
                  <c:v>14523636</c:v>
                </c:pt>
                <c:pt idx="8">
                  <c:v>14291351</c:v>
                </c:pt>
                <c:pt idx="9">
                  <c:v>15833449</c:v>
                </c:pt>
                <c:pt idx="10">
                  <c:v>16455500</c:v>
                </c:pt>
                <c:pt idx="11">
                  <c:v>17436862</c:v>
                </c:pt>
                <c:pt idx="12">
                  <c:v>16979949</c:v>
                </c:pt>
                <c:pt idx="13">
                  <c:v>13825736</c:v>
                </c:pt>
                <c:pt idx="14">
                  <c:v>13840085</c:v>
                </c:pt>
                <c:pt idx="15">
                  <c:v>13797124</c:v>
                </c:pt>
                <c:pt idx="16">
                  <c:v>19001872</c:v>
                </c:pt>
                <c:pt idx="17">
                  <c:v>12381734</c:v>
                </c:pt>
                <c:pt idx="18">
                  <c:v>13196930</c:v>
                </c:pt>
                <c:pt idx="19">
                  <c:v>15115975</c:v>
                </c:pt>
                <c:pt idx="20">
                  <c:v>14162521</c:v>
                </c:pt>
                <c:pt idx="21">
                  <c:v>15527794</c:v>
                </c:pt>
                <c:pt idx="22">
                  <c:v>16726613</c:v>
                </c:pt>
                <c:pt idx="23">
                  <c:v>17142091</c:v>
                </c:pt>
                <c:pt idx="24">
                  <c:v>166867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8</c:v>
                </c:pt>
                <c:pt idx="1">
                  <c:v>3.75</c:v>
                </c:pt>
                <c:pt idx="2">
                  <c:v>3.4</c:v>
                </c:pt>
                <c:pt idx="3">
                  <c:v>3.3</c:v>
                </c:pt>
                <c:pt idx="4">
                  <c:v>3.13</c:v>
                </c:pt>
                <c:pt idx="5">
                  <c:v>3.53</c:v>
                </c:pt>
                <c:pt idx="6">
                  <c:v>3.66</c:v>
                </c:pt>
                <c:pt idx="7">
                  <c:v>3.69</c:v>
                </c:pt>
                <c:pt idx="8">
                  <c:v>3.7</c:v>
                </c:pt>
                <c:pt idx="9">
                  <c:v>3.75</c:v>
                </c:pt>
                <c:pt idx="10">
                  <c:v>3.74</c:v>
                </c:pt>
                <c:pt idx="11">
                  <c:v>3.7</c:v>
                </c:pt>
                <c:pt idx="12">
                  <c:v>3.65</c:v>
                </c:pt>
                <c:pt idx="13">
                  <c:v>3.66</c:v>
                </c:pt>
                <c:pt idx="14">
                  <c:v>3.38</c:v>
                </c:pt>
                <c:pt idx="15">
                  <c:v>3.32</c:v>
                </c:pt>
                <c:pt idx="16">
                  <c:v>3.27</c:v>
                </c:pt>
                <c:pt idx="17">
                  <c:v>3.49</c:v>
                </c:pt>
                <c:pt idx="18">
                  <c:v>3.64</c:v>
                </c:pt>
                <c:pt idx="19">
                  <c:v>3.68</c:v>
                </c:pt>
                <c:pt idx="20">
                  <c:v>3.62</c:v>
                </c:pt>
                <c:pt idx="21">
                  <c:v>3.64</c:v>
                </c:pt>
                <c:pt idx="22">
                  <c:v>3.69</c:v>
                </c:pt>
                <c:pt idx="23">
                  <c:v>3.69</c:v>
                </c:pt>
                <c:pt idx="24">
                  <c:v>3.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2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6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213</c:v>
                </c:pt>
                <c:pt idx="1">
                  <c:v>7861</c:v>
                </c:pt>
                <c:pt idx="2">
                  <c:v>4636</c:v>
                </c:pt>
                <c:pt idx="3">
                  <c:v>4877</c:v>
                </c:pt>
                <c:pt idx="4">
                  <c:v>2897</c:v>
                </c:pt>
                <c:pt idx="5">
                  <c:v>6097</c:v>
                </c:pt>
                <c:pt idx="6">
                  <c:v>5844</c:v>
                </c:pt>
                <c:pt idx="7">
                  <c:v>6380</c:v>
                </c:pt>
                <c:pt idx="8">
                  <c:v>8008</c:v>
                </c:pt>
                <c:pt idx="9">
                  <c:v>6662</c:v>
                </c:pt>
                <c:pt idx="10">
                  <c:v>7821</c:v>
                </c:pt>
                <c:pt idx="11">
                  <c:v>8328</c:v>
                </c:pt>
                <c:pt idx="12">
                  <c:v>8044</c:v>
                </c:pt>
                <c:pt idx="13">
                  <c:v>7234</c:v>
                </c:pt>
                <c:pt idx="14">
                  <c:v>9694</c:v>
                </c:pt>
                <c:pt idx="15">
                  <c:v>5354</c:v>
                </c:pt>
                <c:pt idx="16">
                  <c:v>3474</c:v>
                </c:pt>
                <c:pt idx="17">
                  <c:v>3636</c:v>
                </c:pt>
                <c:pt idx="18">
                  <c:v>2916</c:v>
                </c:pt>
                <c:pt idx="19">
                  <c:v>3525</c:v>
                </c:pt>
                <c:pt idx="20">
                  <c:v>2926</c:v>
                </c:pt>
                <c:pt idx="21">
                  <c:v>2798</c:v>
                </c:pt>
                <c:pt idx="22">
                  <c:v>2769</c:v>
                </c:pt>
                <c:pt idx="23">
                  <c:v>2499</c:v>
                </c:pt>
                <c:pt idx="24">
                  <c:v>568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3</c:v>
                </c:pt>
                <c:pt idx="1">
                  <c:v>1.36</c:v>
                </c:pt>
                <c:pt idx="2">
                  <c:v>1.33</c:v>
                </c:pt>
                <c:pt idx="3">
                  <c:v>1.28</c:v>
                </c:pt>
                <c:pt idx="4">
                  <c:v>1.22</c:v>
                </c:pt>
                <c:pt idx="5">
                  <c:v>1.21</c:v>
                </c:pt>
                <c:pt idx="6">
                  <c:v>1.19</c:v>
                </c:pt>
                <c:pt idx="7">
                  <c:v>1.2</c:v>
                </c:pt>
                <c:pt idx="8">
                  <c:v>1.2</c:v>
                </c:pt>
                <c:pt idx="9">
                  <c:v>1.19</c:v>
                </c:pt>
                <c:pt idx="10">
                  <c:v>1.19</c:v>
                </c:pt>
                <c:pt idx="11">
                  <c:v>1.22</c:v>
                </c:pt>
                <c:pt idx="12">
                  <c:v>1.23</c:v>
                </c:pt>
                <c:pt idx="13">
                  <c:v>1.23</c:v>
                </c:pt>
                <c:pt idx="14">
                  <c:v>1.29</c:v>
                </c:pt>
                <c:pt idx="15">
                  <c:v>1.38</c:v>
                </c:pt>
                <c:pt idx="16">
                  <c:v>1.57</c:v>
                </c:pt>
                <c:pt idx="17">
                  <c:v>1.56</c:v>
                </c:pt>
                <c:pt idx="18">
                  <c:v>1.44</c:v>
                </c:pt>
                <c:pt idx="19">
                  <c:v>1.43</c:v>
                </c:pt>
                <c:pt idx="20">
                  <c:v>1.5</c:v>
                </c:pt>
                <c:pt idx="21">
                  <c:v>1.74</c:v>
                </c:pt>
                <c:pt idx="22">
                  <c:v>1.56</c:v>
                </c:pt>
                <c:pt idx="23">
                  <c:v>1.53</c:v>
                </c:pt>
                <c:pt idx="24">
                  <c:v>1.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3,2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6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3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3295</c:v>
                </c:pt>
                <c:pt idx="1">
                  <c:v>64350</c:v>
                </c:pt>
                <c:pt idx="2">
                  <c:v>111369</c:v>
                </c:pt>
                <c:pt idx="3">
                  <c:v>128044</c:v>
                </c:pt>
                <c:pt idx="4">
                  <c:v>129662</c:v>
                </c:pt>
                <c:pt idx="5">
                  <c:v>46159</c:v>
                </c:pt>
                <c:pt idx="6">
                  <c:v>37172</c:v>
                </c:pt>
                <c:pt idx="7">
                  <c:v>44435</c:v>
                </c:pt>
                <c:pt idx="8">
                  <c:v>43157</c:v>
                </c:pt>
                <c:pt idx="9">
                  <c:v>50042</c:v>
                </c:pt>
                <c:pt idx="10">
                  <c:v>60064</c:v>
                </c:pt>
                <c:pt idx="11">
                  <c:v>61596</c:v>
                </c:pt>
                <c:pt idx="12">
                  <c:v>63991</c:v>
                </c:pt>
                <c:pt idx="13">
                  <c:v>59663</c:v>
                </c:pt>
                <c:pt idx="14">
                  <c:v>87589</c:v>
                </c:pt>
                <c:pt idx="15">
                  <c:v>117221</c:v>
                </c:pt>
                <c:pt idx="16">
                  <c:v>175622</c:v>
                </c:pt>
                <c:pt idx="17">
                  <c:v>35580</c:v>
                </c:pt>
                <c:pt idx="18">
                  <c:v>32222</c:v>
                </c:pt>
                <c:pt idx="19">
                  <c:v>36437</c:v>
                </c:pt>
                <c:pt idx="20">
                  <c:v>37090</c:v>
                </c:pt>
                <c:pt idx="21">
                  <c:v>40626</c:v>
                </c:pt>
                <c:pt idx="22">
                  <c:v>45751</c:v>
                </c:pt>
                <c:pt idx="23">
                  <c:v>47903</c:v>
                </c:pt>
                <c:pt idx="24">
                  <c:v>433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1</c:v>
                </c:pt>
                <c:pt idx="1">
                  <c:v>1.53</c:v>
                </c:pt>
                <c:pt idx="2">
                  <c:v>1.25</c:v>
                </c:pt>
                <c:pt idx="3">
                  <c:v>1.16</c:v>
                </c:pt>
                <c:pt idx="4">
                  <c:v>1.14</c:v>
                </c:pt>
                <c:pt idx="5">
                  <c:v>1.22</c:v>
                </c:pt>
                <c:pt idx="6">
                  <c:v>1.48</c:v>
                </c:pt>
                <c:pt idx="7">
                  <c:v>1.52</c:v>
                </c:pt>
                <c:pt idx="8">
                  <c:v>1.53</c:v>
                </c:pt>
                <c:pt idx="9">
                  <c:v>1.55</c:v>
                </c:pt>
                <c:pt idx="10">
                  <c:v>1.55</c:v>
                </c:pt>
                <c:pt idx="11">
                  <c:v>1.57</c:v>
                </c:pt>
                <c:pt idx="12">
                  <c:v>1.48</c:v>
                </c:pt>
                <c:pt idx="13">
                  <c:v>1.45</c:v>
                </c:pt>
                <c:pt idx="14">
                  <c:v>1.45</c:v>
                </c:pt>
                <c:pt idx="15">
                  <c:v>1.46</c:v>
                </c:pt>
                <c:pt idx="16">
                  <c:v>1.35</c:v>
                </c:pt>
                <c:pt idx="17">
                  <c:v>1.36</c:v>
                </c:pt>
                <c:pt idx="18">
                  <c:v>1.45</c:v>
                </c:pt>
                <c:pt idx="19">
                  <c:v>1.42</c:v>
                </c:pt>
                <c:pt idx="20">
                  <c:v>1.46</c:v>
                </c:pt>
                <c:pt idx="21">
                  <c:v>1.46</c:v>
                </c:pt>
                <c:pt idx="22">
                  <c:v>1.45</c:v>
                </c:pt>
                <c:pt idx="23">
                  <c:v>1.45</c:v>
                </c:pt>
                <c:pt idx="24">
                  <c:v>1.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1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1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7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152</c:v>
                </c:pt>
                <c:pt idx="1">
                  <c:v>22818</c:v>
                </c:pt>
                <c:pt idx="2">
                  <c:v>28659</c:v>
                </c:pt>
                <c:pt idx="3">
                  <c:v>33793</c:v>
                </c:pt>
                <c:pt idx="4">
                  <c:v>34081</c:v>
                </c:pt>
                <c:pt idx="5">
                  <c:v>23877</c:v>
                </c:pt>
                <c:pt idx="6">
                  <c:v>16071</c:v>
                </c:pt>
                <c:pt idx="7">
                  <c:v>17426</c:v>
                </c:pt>
                <c:pt idx="8">
                  <c:v>17539</c:v>
                </c:pt>
                <c:pt idx="9">
                  <c:v>21115</c:v>
                </c:pt>
                <c:pt idx="10">
                  <c:v>24989</c:v>
                </c:pt>
                <c:pt idx="11">
                  <c:v>25209</c:v>
                </c:pt>
                <c:pt idx="12">
                  <c:v>31673</c:v>
                </c:pt>
                <c:pt idx="13">
                  <c:v>32116</c:v>
                </c:pt>
                <c:pt idx="14">
                  <c:v>35457</c:v>
                </c:pt>
                <c:pt idx="15">
                  <c:v>32166</c:v>
                </c:pt>
                <c:pt idx="16">
                  <c:v>59104</c:v>
                </c:pt>
                <c:pt idx="17">
                  <c:v>18337</c:v>
                </c:pt>
                <c:pt idx="18">
                  <c:v>15827</c:v>
                </c:pt>
                <c:pt idx="19">
                  <c:v>18900</c:v>
                </c:pt>
                <c:pt idx="20">
                  <c:v>18992</c:v>
                </c:pt>
                <c:pt idx="21">
                  <c:v>19909</c:v>
                </c:pt>
                <c:pt idx="22">
                  <c:v>20336</c:v>
                </c:pt>
                <c:pt idx="23">
                  <c:v>20709</c:v>
                </c:pt>
                <c:pt idx="24">
                  <c:v>1874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6</c:v>
                </c:pt>
                <c:pt idx="1">
                  <c:v>1.61</c:v>
                </c:pt>
                <c:pt idx="2">
                  <c:v>1.41</c:v>
                </c:pt>
                <c:pt idx="3">
                  <c:v>1.23</c:v>
                </c:pt>
                <c:pt idx="4">
                  <c:v>1.19</c:v>
                </c:pt>
                <c:pt idx="5">
                  <c:v>1.04</c:v>
                </c:pt>
                <c:pt idx="6">
                  <c:v>1.51</c:v>
                </c:pt>
                <c:pt idx="7">
                  <c:v>1.59</c:v>
                </c:pt>
                <c:pt idx="8">
                  <c:v>1.61</c:v>
                </c:pt>
                <c:pt idx="9">
                  <c:v>1.62</c:v>
                </c:pt>
                <c:pt idx="10">
                  <c:v>1.62</c:v>
                </c:pt>
                <c:pt idx="11">
                  <c:v>1.62</c:v>
                </c:pt>
                <c:pt idx="12">
                  <c:v>1.49</c:v>
                </c:pt>
                <c:pt idx="13">
                  <c:v>1.45</c:v>
                </c:pt>
                <c:pt idx="14">
                  <c:v>1.46</c:v>
                </c:pt>
                <c:pt idx="15">
                  <c:v>1.51</c:v>
                </c:pt>
                <c:pt idx="16">
                  <c:v>1.22</c:v>
                </c:pt>
                <c:pt idx="17">
                  <c:v>1.34</c:v>
                </c:pt>
                <c:pt idx="18">
                  <c:v>1.49</c:v>
                </c:pt>
                <c:pt idx="19">
                  <c:v>1.49</c:v>
                </c:pt>
                <c:pt idx="20">
                  <c:v>1.49</c:v>
                </c:pt>
                <c:pt idx="21">
                  <c:v>1.5</c:v>
                </c:pt>
                <c:pt idx="22">
                  <c:v>1.5</c:v>
                </c:pt>
                <c:pt idx="23">
                  <c:v>1.5</c:v>
                </c:pt>
                <c:pt idx="24">
                  <c:v>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63,7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5,0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6,4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63776</c:v>
                </c:pt>
                <c:pt idx="1">
                  <c:v>370630</c:v>
                </c:pt>
                <c:pt idx="2">
                  <c:v>588366</c:v>
                </c:pt>
                <c:pt idx="3">
                  <c:v>746586</c:v>
                </c:pt>
                <c:pt idx="4">
                  <c:v>760812</c:v>
                </c:pt>
                <c:pt idx="5">
                  <c:v>226885</c:v>
                </c:pt>
                <c:pt idx="6">
                  <c:v>212879</c:v>
                </c:pt>
                <c:pt idx="7">
                  <c:v>243654</c:v>
                </c:pt>
                <c:pt idx="8">
                  <c:v>234450</c:v>
                </c:pt>
                <c:pt idx="9">
                  <c:v>276535</c:v>
                </c:pt>
                <c:pt idx="10">
                  <c:v>325583</c:v>
                </c:pt>
                <c:pt idx="11">
                  <c:v>317978</c:v>
                </c:pt>
                <c:pt idx="12">
                  <c:v>348227</c:v>
                </c:pt>
                <c:pt idx="13">
                  <c:v>325085</c:v>
                </c:pt>
                <c:pt idx="14">
                  <c:v>505418</c:v>
                </c:pt>
                <c:pt idx="15">
                  <c:v>702344</c:v>
                </c:pt>
                <c:pt idx="16">
                  <c:v>1128795</c:v>
                </c:pt>
                <c:pt idx="17">
                  <c:v>177699</c:v>
                </c:pt>
                <c:pt idx="18">
                  <c:v>172105</c:v>
                </c:pt>
                <c:pt idx="19">
                  <c:v>203429</c:v>
                </c:pt>
                <c:pt idx="20">
                  <c:v>204477</c:v>
                </c:pt>
                <c:pt idx="21">
                  <c:v>231431</c:v>
                </c:pt>
                <c:pt idx="22">
                  <c:v>250036</c:v>
                </c:pt>
                <c:pt idx="23">
                  <c:v>262374</c:v>
                </c:pt>
                <c:pt idx="24">
                  <c:v>2364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9</c:v>
                </c:pt>
                <c:pt idx="2">
                  <c:v>1.28</c:v>
                </c:pt>
                <c:pt idx="3">
                  <c:v>1.16</c:v>
                </c:pt>
                <c:pt idx="4">
                  <c:v>1.14</c:v>
                </c:pt>
                <c:pt idx="5">
                  <c:v>1.24</c:v>
                </c:pt>
                <c:pt idx="6">
                  <c:v>1.54</c:v>
                </c:pt>
                <c:pt idx="7">
                  <c:v>1.57</c:v>
                </c:pt>
                <c:pt idx="8">
                  <c:v>1.58</c:v>
                </c:pt>
                <c:pt idx="9">
                  <c:v>1.59</c:v>
                </c:pt>
                <c:pt idx="10">
                  <c:v>1.6</c:v>
                </c:pt>
                <c:pt idx="11">
                  <c:v>1.59</c:v>
                </c:pt>
                <c:pt idx="12">
                  <c:v>1.49</c:v>
                </c:pt>
                <c:pt idx="13">
                  <c:v>1.45</c:v>
                </c:pt>
                <c:pt idx="14">
                  <c:v>1.44</c:v>
                </c:pt>
                <c:pt idx="15">
                  <c:v>1.46</c:v>
                </c:pt>
                <c:pt idx="16">
                  <c:v>1.34</c:v>
                </c:pt>
                <c:pt idx="17">
                  <c:v>1.38</c:v>
                </c:pt>
                <c:pt idx="18">
                  <c:v>1.47</c:v>
                </c:pt>
                <c:pt idx="19">
                  <c:v>1.47</c:v>
                </c:pt>
                <c:pt idx="20">
                  <c:v>1.48</c:v>
                </c:pt>
                <c:pt idx="21">
                  <c:v>1.48</c:v>
                </c:pt>
                <c:pt idx="22">
                  <c:v>1.48</c:v>
                </c:pt>
                <c:pt idx="23">
                  <c:v>1.48</c:v>
                </c:pt>
                <c:pt idx="24">
                  <c:v>1.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7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85</c:v>
                </c:pt>
                <c:pt idx="1">
                  <c:v>5857</c:v>
                </c:pt>
                <c:pt idx="2">
                  <c:v>6594</c:v>
                </c:pt>
                <c:pt idx="3">
                  <c:v>3862</c:v>
                </c:pt>
                <c:pt idx="4">
                  <c:v>5955</c:v>
                </c:pt>
                <c:pt idx="5">
                  <c:v>4684</c:v>
                </c:pt>
                <c:pt idx="6">
                  <c:v>4266</c:v>
                </c:pt>
                <c:pt idx="7">
                  <c:v>6299</c:v>
                </c:pt>
                <c:pt idx="8">
                  <c:v>4651</c:v>
                </c:pt>
                <c:pt idx="9">
                  <c:v>6253</c:v>
                </c:pt>
                <c:pt idx="10">
                  <c:v>6273</c:v>
                </c:pt>
                <c:pt idx="11">
                  <c:v>8035</c:v>
                </c:pt>
                <c:pt idx="12">
                  <c:v>6533</c:v>
                </c:pt>
                <c:pt idx="13">
                  <c:v>5995</c:v>
                </c:pt>
                <c:pt idx="14">
                  <c:v>10307</c:v>
                </c:pt>
                <c:pt idx="15">
                  <c:v>7625</c:v>
                </c:pt>
                <c:pt idx="16">
                  <c:v>8166</c:v>
                </c:pt>
                <c:pt idx="17">
                  <c:v>10408</c:v>
                </c:pt>
                <c:pt idx="18">
                  <c:v>10208</c:v>
                </c:pt>
                <c:pt idx="19">
                  <c:v>9744</c:v>
                </c:pt>
                <c:pt idx="20">
                  <c:v>10588</c:v>
                </c:pt>
                <c:pt idx="21">
                  <c:v>10902</c:v>
                </c:pt>
                <c:pt idx="22">
                  <c:v>11654</c:v>
                </c:pt>
                <c:pt idx="23">
                  <c:v>11537</c:v>
                </c:pt>
                <c:pt idx="24">
                  <c:v>97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02</c:v>
                </c:pt>
                <c:pt idx="1">
                  <c:v>2.01</c:v>
                </c:pt>
                <c:pt idx="2">
                  <c:v>2.06</c:v>
                </c:pt>
                <c:pt idx="3">
                  <c:v>1.83</c:v>
                </c:pt>
                <c:pt idx="4">
                  <c:v>1.57</c:v>
                </c:pt>
                <c:pt idx="5">
                  <c:v>1.78</c:v>
                </c:pt>
                <c:pt idx="6">
                  <c:v>1.51</c:v>
                </c:pt>
                <c:pt idx="7">
                  <c:v>1.52</c:v>
                </c:pt>
                <c:pt idx="8">
                  <c:v>1.68</c:v>
                </c:pt>
                <c:pt idx="9">
                  <c:v>1.34</c:v>
                </c:pt>
                <c:pt idx="10">
                  <c:v>1.38</c:v>
                </c:pt>
                <c:pt idx="11">
                  <c:v>1.34</c:v>
                </c:pt>
                <c:pt idx="12">
                  <c:v>1.32</c:v>
                </c:pt>
                <c:pt idx="13">
                  <c:v>1.27</c:v>
                </c:pt>
                <c:pt idx="14">
                  <c:v>1.36</c:v>
                </c:pt>
                <c:pt idx="15">
                  <c:v>1.38</c:v>
                </c:pt>
                <c:pt idx="16">
                  <c:v>1.27</c:v>
                </c:pt>
                <c:pt idx="17">
                  <c:v>1.36</c:v>
                </c:pt>
                <c:pt idx="18">
                  <c:v>1.44</c:v>
                </c:pt>
                <c:pt idx="19">
                  <c:v>1.47</c:v>
                </c:pt>
                <c:pt idx="20">
                  <c:v>1.59</c:v>
                </c:pt>
                <c:pt idx="21">
                  <c:v>1.7</c:v>
                </c:pt>
                <c:pt idx="22">
                  <c:v>1.78</c:v>
                </c:pt>
                <c:pt idx="23">
                  <c:v>1.75</c:v>
                </c:pt>
                <c:pt idx="24">
                  <c:v>1.9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3</c:v>
                </c:pt>
                <c:pt idx="3">
                  <c:v>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4</c:v>
                </c:pt>
                <c:pt idx="3">
                  <c:v>9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3</c:v>
                </c:pt>
                <c:pt idx="2">
                  <c:v>126</c:v>
                </c:pt>
                <c:pt idx="3">
                  <c:v>13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8</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98</c:v>
                </c:pt>
                <c:pt idx="3">
                  <c:v>10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2.0"/>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4</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5</c:v>
                </c:pt>
                <c:pt idx="3">
                  <c:v>10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21</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3</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7</c:v>
                </c:pt>
                <c:pt idx="3">
                  <c:v>12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6</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3</c:v>
                </c:pt>
                <c:pt idx="2">
                  <c:v>196</c:v>
                </c:pt>
                <c:pt idx="3">
                  <c:v>17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8</c:v>
                </c:pt>
                <c:pt idx="2">
                  <c:v>112</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9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91</c:v>
                </c:pt>
                <c:pt idx="2">
                  <c:v>424</c:v>
                </c:pt>
                <c:pt idx="3">
                  <c:v>57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92</c:v>
                </c:pt>
                <c:pt idx="3">
                  <c:v>9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94.8"/>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20</c:v>
                </c:pt>
                <c:pt idx="3">
                  <c:v>12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91</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11</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12,9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45,7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84,0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12924</c:v>
                </c:pt>
                <c:pt idx="1">
                  <c:v>1183297</c:v>
                </c:pt>
                <c:pt idx="2">
                  <c:v>1190678</c:v>
                </c:pt>
                <c:pt idx="3">
                  <c:v>1130916</c:v>
                </c:pt>
                <c:pt idx="4">
                  <c:v>1195124</c:v>
                </c:pt>
                <c:pt idx="5">
                  <c:v>1145863</c:v>
                </c:pt>
                <c:pt idx="6">
                  <c:v>1277539</c:v>
                </c:pt>
                <c:pt idx="7">
                  <c:v>1229642</c:v>
                </c:pt>
                <c:pt idx="8">
                  <c:v>1191030</c:v>
                </c:pt>
                <c:pt idx="9">
                  <c:v>1377941</c:v>
                </c:pt>
                <c:pt idx="10">
                  <c:v>1464105</c:v>
                </c:pt>
                <c:pt idx="11">
                  <c:v>1714752</c:v>
                </c:pt>
                <c:pt idx="12">
                  <c:v>1358314</c:v>
                </c:pt>
                <c:pt idx="13">
                  <c:v>1245740</c:v>
                </c:pt>
                <c:pt idx="14">
                  <c:v>1347298</c:v>
                </c:pt>
                <c:pt idx="15">
                  <c:v>1259311</c:v>
                </c:pt>
                <c:pt idx="16">
                  <c:v>1325090</c:v>
                </c:pt>
                <c:pt idx="17">
                  <c:v>1245489</c:v>
                </c:pt>
                <c:pt idx="18">
                  <c:v>1292818</c:v>
                </c:pt>
                <c:pt idx="19">
                  <c:v>1632783</c:v>
                </c:pt>
                <c:pt idx="20">
                  <c:v>1639565</c:v>
                </c:pt>
                <c:pt idx="21">
                  <c:v>1646544</c:v>
                </c:pt>
                <c:pt idx="22">
                  <c:v>1825679</c:v>
                </c:pt>
                <c:pt idx="23">
                  <c:v>2198762</c:v>
                </c:pt>
                <c:pt idx="24">
                  <c:v>178406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3</c:v>
                </c:pt>
                <c:pt idx="1">
                  <c:v>1.02</c:v>
                </c:pt>
                <c:pt idx="2">
                  <c:v>0.9</c:v>
                </c:pt>
                <c:pt idx="3">
                  <c:v>0.87</c:v>
                </c:pt>
                <c:pt idx="4">
                  <c:v>0.99</c:v>
                </c:pt>
                <c:pt idx="5">
                  <c:v>1.01</c:v>
                </c:pt>
                <c:pt idx="6">
                  <c:v>0.88</c:v>
                </c:pt>
                <c:pt idx="7">
                  <c:v>1.06</c:v>
                </c:pt>
                <c:pt idx="8">
                  <c:v>1.08</c:v>
                </c:pt>
                <c:pt idx="9">
                  <c:v>0.99</c:v>
                </c:pt>
                <c:pt idx="10">
                  <c:v>1.1</c:v>
                </c:pt>
                <c:pt idx="11">
                  <c:v>1.01</c:v>
                </c:pt>
                <c:pt idx="12">
                  <c:v>1.13</c:v>
                </c:pt>
                <c:pt idx="13">
                  <c:v>1.11</c:v>
                </c:pt>
                <c:pt idx="14">
                  <c:v>1.09</c:v>
                </c:pt>
                <c:pt idx="15">
                  <c:v>1.0</c:v>
                </c:pt>
                <c:pt idx="16">
                  <c:v>1.11</c:v>
                </c:pt>
                <c:pt idx="17">
                  <c:v>1.06</c:v>
                </c:pt>
                <c:pt idx="18">
                  <c:v>1.08</c:v>
                </c:pt>
                <c:pt idx="19">
                  <c:v>1.06</c:v>
                </c:pt>
                <c:pt idx="20">
                  <c:v>1.18</c:v>
                </c:pt>
                <c:pt idx="21">
                  <c:v>1.16</c:v>
                </c:pt>
                <c:pt idx="22">
                  <c:v>1.13</c:v>
                </c:pt>
                <c:pt idx="23">
                  <c:v>1.06</c:v>
                </c:pt>
                <c:pt idx="24">
                  <c:v>1.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99</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3</c:v>
                </c:pt>
                <c:pt idx="3">
                  <c:v>1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2</c:v>
                </c:pt>
                <c:pt idx="3">
                  <c:v>10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129</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4</c:v>
                </c:pt>
                <c:pt idx="2">
                  <c:v>60</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3</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25</c:v>
                </c:pt>
                <c:pt idx="3">
                  <c:v>12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0</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5</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03</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8</c:v>
                </c:pt>
                <c:pt idx="3">
                  <c:v>8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11</c:v>
                </c:pt>
                <c:pt idx="3">
                  <c:v>9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9</c:v>
                </c:pt>
                <c:pt idx="3">
                  <c:v>10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6</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79</c:v>
                </c:pt>
                <c:pt idx="2">
                  <c:v>204</c:v>
                </c:pt>
                <c:pt idx="3">
                  <c:v>18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4.79999999999998"/>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13</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2</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1</c:v>
                </c:pt>
                <c:pt idx="3">
                  <c:v>12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8</c:v>
                </c:pt>
                <c:pt idx="3">
                  <c:v>12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01</c:v>
                </c:pt>
                <c:pt idx="3">
                  <c:v>10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99</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3</c:v>
                </c:pt>
                <c:pt idx="3">
                  <c:v>1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2</c:v>
                </c:pt>
                <c:pt idx="3">
                  <c:v>10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129</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4</c:v>
                </c:pt>
                <c:pt idx="2">
                  <c:v>60</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3</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25</c:v>
                </c:pt>
                <c:pt idx="3">
                  <c:v>12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0</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5</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03</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960,2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205,3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187,0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960212</c:v>
                </c:pt>
                <c:pt idx="1">
                  <c:v>4675681</c:v>
                </c:pt>
                <c:pt idx="2">
                  <c:v>4886119</c:v>
                </c:pt>
                <c:pt idx="3">
                  <c:v>4540242</c:v>
                </c:pt>
                <c:pt idx="4">
                  <c:v>4881251</c:v>
                </c:pt>
                <c:pt idx="5">
                  <c:v>5138433</c:v>
                </c:pt>
                <c:pt idx="6">
                  <c:v>4827799</c:v>
                </c:pt>
                <c:pt idx="7">
                  <c:v>5111764</c:v>
                </c:pt>
                <c:pt idx="8">
                  <c:v>5099776</c:v>
                </c:pt>
                <c:pt idx="9">
                  <c:v>5508871</c:v>
                </c:pt>
                <c:pt idx="10">
                  <c:v>5699533</c:v>
                </c:pt>
                <c:pt idx="11">
                  <c:v>6896880</c:v>
                </c:pt>
                <c:pt idx="12">
                  <c:v>5663670</c:v>
                </c:pt>
                <c:pt idx="13">
                  <c:v>5205322</c:v>
                </c:pt>
                <c:pt idx="14">
                  <c:v>5318930</c:v>
                </c:pt>
                <c:pt idx="15">
                  <c:v>5156409</c:v>
                </c:pt>
                <c:pt idx="16">
                  <c:v>4919230</c:v>
                </c:pt>
                <c:pt idx="17">
                  <c:v>5118520</c:v>
                </c:pt>
                <c:pt idx="18">
                  <c:v>5047365</c:v>
                </c:pt>
                <c:pt idx="19">
                  <c:v>5801345</c:v>
                </c:pt>
                <c:pt idx="20">
                  <c:v>5992577</c:v>
                </c:pt>
                <c:pt idx="21">
                  <c:v>6571120</c:v>
                </c:pt>
                <c:pt idx="22">
                  <c:v>6763778</c:v>
                </c:pt>
                <c:pt idx="23">
                  <c:v>8370339</c:v>
                </c:pt>
                <c:pt idx="24">
                  <c:v>71870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8</c:v>
                </c:pt>
                <c:pt idx="1">
                  <c:v>3.14</c:v>
                </c:pt>
                <c:pt idx="2">
                  <c:v>3.12</c:v>
                </c:pt>
                <c:pt idx="3">
                  <c:v>3.19</c:v>
                </c:pt>
                <c:pt idx="4">
                  <c:v>3.39</c:v>
                </c:pt>
                <c:pt idx="5">
                  <c:v>3.39</c:v>
                </c:pt>
                <c:pt idx="6">
                  <c:v>3.27</c:v>
                </c:pt>
                <c:pt idx="7">
                  <c:v>3.21</c:v>
                </c:pt>
                <c:pt idx="8">
                  <c:v>3.19</c:v>
                </c:pt>
                <c:pt idx="9">
                  <c:v>3.11</c:v>
                </c:pt>
                <c:pt idx="10">
                  <c:v>3.16</c:v>
                </c:pt>
                <c:pt idx="11">
                  <c:v>2.88</c:v>
                </c:pt>
                <c:pt idx="12">
                  <c:v>2.98</c:v>
                </c:pt>
                <c:pt idx="13">
                  <c:v>3.0</c:v>
                </c:pt>
                <c:pt idx="14">
                  <c:v>2.96</c:v>
                </c:pt>
                <c:pt idx="15">
                  <c:v>2.97</c:v>
                </c:pt>
                <c:pt idx="16">
                  <c:v>2.97</c:v>
                </c:pt>
                <c:pt idx="17">
                  <c:v>2.78</c:v>
                </c:pt>
                <c:pt idx="18">
                  <c:v>2.88</c:v>
                </c:pt>
                <c:pt idx="19">
                  <c:v>2.94</c:v>
                </c:pt>
                <c:pt idx="20">
                  <c:v>2.94</c:v>
                </c:pt>
                <c:pt idx="21">
                  <c:v>2.9</c:v>
                </c:pt>
                <c:pt idx="22">
                  <c:v>2.97</c:v>
                </c:pt>
                <c:pt idx="23">
                  <c:v>2.82</c:v>
                </c:pt>
                <c:pt idx="24">
                  <c:v>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5</c:v>
                </c:pt>
                <c:pt idx="3">
                  <c:v>9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eflect O Corp</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8</c:v>
                </c:pt>
                <c:pt idx="2">
                  <c:v>60</c:v>
                </c:pt>
                <c:pt idx="3">
                  <c:v>5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14</c:v>
                </c:pt>
                <c:pt idx="3">
                  <c:v>10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23</c:v>
                </c:pt>
                <c:pt idx="3">
                  <c:v>12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2</c:v>
                </c:pt>
                <c:pt idx="3">
                  <c:v>9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3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07</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eflect O Corp</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2</c:v>
                </c:pt>
                <c:pt idx="3">
                  <c:v>10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7</c:v>
                </c:pt>
                <c:pt idx="2">
                  <c:v>148</c:v>
                </c:pt>
                <c:pt idx="3">
                  <c:v>16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7</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76.8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8</c:v>
                </c:pt>
                <c:pt idx="3">
                  <c:v>8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2</c:v>
                </c:pt>
                <c:pt idx="3">
                  <c:v>9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6</c:v>
                </c:pt>
                <c:pt idx="3">
                  <c:v>10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96</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64</c:v>
                </c:pt>
                <c:pt idx="2">
                  <c:v>186</c:v>
                </c:pt>
                <c:pt idx="3">
                  <c:v>17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3.2"/>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14</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3</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1</c:v>
                </c:pt>
                <c:pt idx="3">
                  <c:v>12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7</c:v>
                </c:pt>
                <c:pt idx="3">
                  <c:v>12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2</c:v>
                </c:pt>
                <c:pt idx="3">
                  <c:v>10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1</c:v>
                </c:pt>
                <c:pt idx="2">
                  <c:v>308</c:v>
                </c:pt>
                <c:pt idx="3">
                  <c:v>20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25</c:v>
                </c:pt>
                <c:pt idx="3">
                  <c:v>11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8</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4</c:v>
                </c:pt>
                <c:pt idx="2">
                  <c:v>182</c:v>
                </c:pt>
                <c:pt idx="3">
                  <c:v>32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99</c:v>
                </c:pt>
                <c:pt idx="3">
                  <c:v>10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7.59999999999997"/>
          <c:min val="6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2</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5</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104</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95</c:v>
                </c:pt>
                <c:pt idx="3">
                  <c:v>9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3</c:v>
                </c:pt>
                <c:pt idx="2">
                  <c:v>129</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1</c:v>
                </c:pt>
                <c:pt idx="2">
                  <c:v>251</c:v>
                </c:pt>
                <c:pt idx="3">
                  <c:v>24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7</c:v>
                </c:pt>
                <c:pt idx="3">
                  <c:v>10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67</c:v>
                </c:pt>
                <c:pt idx="3">
                  <c:v>6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1</c:v>
                </c:pt>
                <c:pt idx="3">
                  <c:v>10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8</c:v>
                </c:pt>
                <c:pt idx="2">
                  <c:v>122</c:v>
                </c:pt>
                <c:pt idx="3">
                  <c:v>1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1.2"/>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8</c:v>
                </c:pt>
                <c:pt idx="3">
                  <c:v>12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14</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9</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2</c:v>
                </c:pt>
                <c:pt idx="3">
                  <c:v>9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1</c:v>
                </c:pt>
                <c:pt idx="2">
                  <c:v>79</c:v>
                </c:pt>
                <c:pt idx="3">
                  <c:v>6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1</c:v>
                </c:pt>
                <c:pt idx="3">
                  <c:v>11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3</c:v>
                </c:pt>
                <c:pt idx="2">
                  <c:v>126</c:v>
                </c:pt>
                <c:pt idx="3">
                  <c:v>12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01</c:v>
                </c:pt>
                <c:pt idx="3">
                  <c:v>1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1.2"/>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5</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8</c:v>
                </c:pt>
                <c:pt idx="2">
                  <c:v>135</c:v>
                </c:pt>
                <c:pt idx="3">
                  <c:v>13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22</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95</c:v>
                </c:pt>
                <c:pt idx="3">
                  <c:v>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2</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2.0"/>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2</c:v>
                </c:pt>
                <c:pt idx="2">
                  <c:v>59</c:v>
                </c:pt>
                <c:pt idx="3">
                  <c:v>2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2</c:v>
                </c:pt>
                <c:pt idx="3">
                  <c:v>9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19</c:v>
                </c:pt>
                <c:pt idx="3">
                  <c:v>1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2</c:v>
                </c:pt>
                <c:pt idx="2">
                  <c:v>77</c:v>
                </c:pt>
                <c:pt idx="3">
                  <c:v>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96</c:v>
                </c:pt>
                <c:pt idx="3">
                  <c:v>9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2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43</c:v>
                </c:pt>
                <c:pt idx="3">
                  <c:v>17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1</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4</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0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8.7999999999999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09</c:v>
                </c:pt>
                <c:pt idx="3">
                  <c:v>9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109</c:v>
                </c:pt>
                <c:pt idx="3">
                  <c:v>12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23</c:v>
                </c:pt>
                <c:pt idx="3">
                  <c:v>3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92</c:v>
                </c:pt>
                <c:pt idx="3">
                  <c:v>9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2</c:v>
                </c:pt>
                <c:pt idx="3">
                  <c:v>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2.4"/>
          <c:min val="2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2</c:v>
                </c:pt>
                <c:pt idx="3">
                  <c:v>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120</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17</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97</c:v>
                </c:pt>
                <c:pt idx="3">
                  <c:v>11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08</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8</c:v>
                </c:pt>
                <c:pt idx="2">
                  <c:v>102</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6</c:v>
                </c:pt>
                <c:pt idx="2">
                  <c:v>196</c:v>
                </c:pt>
                <c:pt idx="3">
                  <c:v>17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34</c:v>
                </c:pt>
                <c:pt idx="3">
                  <c:v>9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97</c:v>
                </c:pt>
                <c:pt idx="3">
                  <c:v>9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94</c:v>
                </c:pt>
                <c:pt idx="2">
                  <c:v>425</c:v>
                </c:pt>
                <c:pt idx="3">
                  <c:v>5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1</c:v>
                </c:pt>
                <c:pt idx="3">
                  <c:v>8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03.1999999999999"/>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97</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06</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90</c:v>
                </c:pt>
                <c:pt idx="3">
                  <c:v>7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12</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47</c:v>
                </c:pt>
                <c:pt idx="2">
                  <c:v>319</c:v>
                </c:pt>
                <c:pt idx="3">
                  <c:v>32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5</c:v>
                </c:pt>
                <c:pt idx="2">
                  <c:v>82</c:v>
                </c:pt>
                <c:pt idx="3">
                  <c:v>5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8</c:v>
                </c:pt>
                <c:pt idx="2">
                  <c:v>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7</c:v>
                </c:pt>
                <c:pt idx="2">
                  <c:v>113</c:v>
                </c:pt>
                <c:pt idx="3">
                  <c:v>12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5</c:v>
                </c:pt>
                <c:pt idx="2">
                  <c:v>1</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9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2</c:v>
                </c:pt>
                <c:pt idx="2">
                  <c:v>148</c:v>
                </c:pt>
                <c:pt idx="3">
                  <c:v>9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24</c:v>
                </c:pt>
                <c:pt idx="3">
                  <c:v>13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8</c:v>
                </c:pt>
                <c:pt idx="2">
                  <c:v>5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0</c:v>
                </c:pt>
                <c:pt idx="3">
                  <c:v>9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3</c:v>
                </c:pt>
                <c:pt idx="2">
                  <c:v>9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7.6"/>
          <c:min val="44.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91,4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20,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67,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91469</c:v>
                </c:pt>
                <c:pt idx="1">
                  <c:v>1720918</c:v>
                </c:pt>
                <c:pt idx="2">
                  <c:v>1829407</c:v>
                </c:pt>
                <c:pt idx="3">
                  <c:v>1499606</c:v>
                </c:pt>
                <c:pt idx="4">
                  <c:v>1609986</c:v>
                </c:pt>
                <c:pt idx="5">
                  <c:v>1383221</c:v>
                </c:pt>
                <c:pt idx="6">
                  <c:v>1746405</c:v>
                </c:pt>
                <c:pt idx="7">
                  <c:v>2195652</c:v>
                </c:pt>
                <c:pt idx="8">
                  <c:v>2046927</c:v>
                </c:pt>
                <c:pt idx="9">
                  <c:v>2306423</c:v>
                </c:pt>
                <c:pt idx="10">
                  <c:v>2611470</c:v>
                </c:pt>
                <c:pt idx="11">
                  <c:v>2363585</c:v>
                </c:pt>
                <c:pt idx="12">
                  <c:v>1949574</c:v>
                </c:pt>
                <c:pt idx="13">
                  <c:v>1620640</c:v>
                </c:pt>
                <c:pt idx="14">
                  <c:v>1876289</c:v>
                </c:pt>
                <c:pt idx="15">
                  <c:v>1636470</c:v>
                </c:pt>
                <c:pt idx="16">
                  <c:v>1812223</c:v>
                </c:pt>
                <c:pt idx="17">
                  <c:v>1379378</c:v>
                </c:pt>
                <c:pt idx="18">
                  <c:v>1479200</c:v>
                </c:pt>
                <c:pt idx="19">
                  <c:v>1713958</c:v>
                </c:pt>
                <c:pt idx="20">
                  <c:v>2218025</c:v>
                </c:pt>
                <c:pt idx="21">
                  <c:v>2243440</c:v>
                </c:pt>
                <c:pt idx="22">
                  <c:v>2389241</c:v>
                </c:pt>
                <c:pt idx="23">
                  <c:v>2606508</c:v>
                </c:pt>
                <c:pt idx="24">
                  <c:v>33674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3</c:v>
                </c:pt>
                <c:pt idx="1">
                  <c:v>2.42</c:v>
                </c:pt>
                <c:pt idx="2">
                  <c:v>2.28</c:v>
                </c:pt>
                <c:pt idx="3">
                  <c:v>2.01</c:v>
                </c:pt>
                <c:pt idx="4">
                  <c:v>2.37</c:v>
                </c:pt>
                <c:pt idx="5">
                  <c:v>2.25</c:v>
                </c:pt>
                <c:pt idx="6">
                  <c:v>2.06</c:v>
                </c:pt>
                <c:pt idx="7">
                  <c:v>2.31</c:v>
                </c:pt>
                <c:pt idx="8">
                  <c:v>2.34</c:v>
                </c:pt>
                <c:pt idx="9">
                  <c:v>2.27</c:v>
                </c:pt>
                <c:pt idx="10">
                  <c:v>2.35</c:v>
                </c:pt>
                <c:pt idx="11">
                  <c:v>2.46</c:v>
                </c:pt>
                <c:pt idx="12">
                  <c:v>2.56</c:v>
                </c:pt>
                <c:pt idx="13">
                  <c:v>2.61</c:v>
                </c:pt>
                <c:pt idx="14">
                  <c:v>2.4</c:v>
                </c:pt>
                <c:pt idx="15">
                  <c:v>2.4</c:v>
                </c:pt>
                <c:pt idx="16">
                  <c:v>2.57</c:v>
                </c:pt>
                <c:pt idx="17">
                  <c:v>2.5</c:v>
                </c:pt>
                <c:pt idx="18">
                  <c:v>2.49</c:v>
                </c:pt>
                <c:pt idx="19">
                  <c:v>2.63</c:v>
                </c:pt>
                <c:pt idx="20">
                  <c:v>2.32</c:v>
                </c:pt>
                <c:pt idx="21">
                  <c:v>2.36</c:v>
                </c:pt>
                <c:pt idx="22">
                  <c:v>2.54</c:v>
                </c:pt>
                <c:pt idx="23">
                  <c:v>2.52</c:v>
                </c:pt>
                <c:pt idx="24">
                  <c:v>2.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4</c:v>
                </c:pt>
                <c:pt idx="2">
                  <c:v>36</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21514</c:v>
                </c:pt>
                <c:pt idx="2">
                  <c:v>996888</c:v>
                </c:pt>
                <c:pt idx="3">
                  <c:v>85848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7</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58</c:v>
                </c:pt>
                <c:pt idx="2">
                  <c:v>162</c:v>
                </c:pt>
                <c:pt idx="3">
                  <c:v>1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96265.5999999999"/>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7</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2</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2</c:v>
                </c:pt>
                <c:pt idx="3">
                  <c:v>9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5</c:v>
                </c:pt>
                <c:pt idx="2">
                  <c:v>76</c:v>
                </c:pt>
                <c:pt idx="3">
                  <c:v>4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9</c:v>
                </c:pt>
                <c:pt idx="3">
                  <c:v>12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01</c:v>
                </c:pt>
                <c:pt idx="3">
                  <c:v>10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41</c:v>
                </c:pt>
                <c:pt idx="2">
                  <c:v>583</c:v>
                </c:pt>
                <c:pt idx="3">
                  <c:v>6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99.6"/>
          <c:min val="3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9</c:v>
                </c:pt>
                <c:pt idx="2">
                  <c:v>152</c:v>
                </c:pt>
                <c:pt idx="3">
                  <c:v>15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26</c:v>
                </c:pt>
                <c:pt idx="3">
                  <c:v>13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8</c:v>
                </c:pt>
                <c:pt idx="3">
                  <c:v>10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50</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7.2"/>
          <c:min val="77.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8</c:v>
                </c:pt>
                <c:pt idx="2">
                  <c:v>96</c:v>
                </c:pt>
                <c:pt idx="3">
                  <c:v>2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06</c:v>
                </c:pt>
                <c:pt idx="3">
                  <c:v>9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7</c:v>
                </c:pt>
                <c:pt idx="2">
                  <c:v>80</c:v>
                </c:pt>
                <c:pt idx="3">
                  <c:v>8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94</c:v>
                </c:pt>
                <c:pt idx="3">
                  <c:v>10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6.79999999999998"/>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1</c:v>
                </c:pt>
                <c:pt idx="2">
                  <c:v>162</c:v>
                </c:pt>
                <c:pt idx="3">
                  <c:v>17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3</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3</c:v>
                </c:pt>
                <c:pt idx="3">
                  <c:v>9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7</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8.79999999999998"/>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103</c:v>
                </c:pt>
                <c:pt idx="3">
                  <c:v>8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9</c:v>
                </c:pt>
                <c:pt idx="3">
                  <c:v>1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97</c:v>
                </c:pt>
                <c:pt idx="3">
                  <c:v>10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Razor Ind</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22</c:v>
                </c:pt>
                <c:pt idx="2">
                  <c:v>701</c:v>
                </c:pt>
                <c:pt idx="3">
                  <c:v>7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66.4"/>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3</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18</c:v>
                </c:pt>
                <c:pt idx="3">
                  <c:v>11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2</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09</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Razor Ind</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1</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9</c:v>
                </c:pt>
                <c:pt idx="2">
                  <c:v>194</c:v>
                </c:pt>
                <c:pt idx="3">
                  <c:v>1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293</c:v>
                </c:pt>
                <c:pt idx="3">
                  <c:v>46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6</c:v>
                </c:pt>
                <c:pt idx="3">
                  <c:v>10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90</c:v>
                </c:pt>
                <c:pt idx="3">
                  <c:v>8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554.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95</c:v>
                </c:pt>
                <c:pt idx="3">
                  <c:v>9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64</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88</c:v>
                </c:pt>
                <c:pt idx="3">
                  <c:v>7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 Design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8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 Design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3</c:v>
                </c:pt>
                <c:pt idx="3">
                  <c:v>10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7</c:v>
                </c:pt>
                <c:pt idx="3">
                  <c:v>11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85</c:v>
                </c:pt>
                <c:pt idx="2">
                  <c:v>1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7</c:v>
                </c:pt>
                <c:pt idx="3">
                  <c:v>9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3</c:f>
              <c:numCache>
                <c:formatCode>General</c:formatCode>
                <c:ptCount val="2"/>
                <c:pt idx="0">
                  <c:v>100</c:v>
                </c:pt>
                <c:pt idx="1">
                  <c:v>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8</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7</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87</c:v>
                </c:pt>
                <c:pt idx="2">
                  <c:v>4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0</c:v>
                </c:pt>
                <c:pt idx="3">
                  <c:v>10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3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4,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2,1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8,4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4849</c:v>
                </c:pt>
                <c:pt idx="1">
                  <c:v>263731</c:v>
                </c:pt>
                <c:pt idx="2">
                  <c:v>259921</c:v>
                </c:pt>
                <c:pt idx="3">
                  <c:v>261831</c:v>
                </c:pt>
                <c:pt idx="4">
                  <c:v>320738</c:v>
                </c:pt>
                <c:pt idx="5">
                  <c:v>274227</c:v>
                </c:pt>
                <c:pt idx="6">
                  <c:v>258633</c:v>
                </c:pt>
                <c:pt idx="7">
                  <c:v>312597</c:v>
                </c:pt>
                <c:pt idx="8">
                  <c:v>299619</c:v>
                </c:pt>
                <c:pt idx="9">
                  <c:v>289852</c:v>
                </c:pt>
                <c:pt idx="10">
                  <c:v>294369</c:v>
                </c:pt>
                <c:pt idx="11">
                  <c:v>314433</c:v>
                </c:pt>
                <c:pt idx="12">
                  <c:v>335032</c:v>
                </c:pt>
                <c:pt idx="13">
                  <c:v>302186</c:v>
                </c:pt>
                <c:pt idx="14">
                  <c:v>311273</c:v>
                </c:pt>
                <c:pt idx="15">
                  <c:v>288822</c:v>
                </c:pt>
                <c:pt idx="16">
                  <c:v>325445</c:v>
                </c:pt>
                <c:pt idx="17">
                  <c:v>285805</c:v>
                </c:pt>
                <c:pt idx="18">
                  <c:v>275569</c:v>
                </c:pt>
                <c:pt idx="19">
                  <c:v>291639</c:v>
                </c:pt>
                <c:pt idx="20">
                  <c:v>278573</c:v>
                </c:pt>
                <c:pt idx="21">
                  <c:v>295122</c:v>
                </c:pt>
                <c:pt idx="22">
                  <c:v>293219</c:v>
                </c:pt>
                <c:pt idx="23">
                  <c:v>305647</c:v>
                </c:pt>
                <c:pt idx="24">
                  <c:v>30845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5</c:v>
                </c:pt>
                <c:pt idx="1">
                  <c:v>1.44</c:v>
                </c:pt>
                <c:pt idx="2">
                  <c:v>1.43</c:v>
                </c:pt>
                <c:pt idx="3">
                  <c:v>1.43</c:v>
                </c:pt>
                <c:pt idx="4">
                  <c:v>1.45</c:v>
                </c:pt>
                <c:pt idx="5">
                  <c:v>1.42</c:v>
                </c:pt>
                <c:pt idx="6">
                  <c:v>1.48</c:v>
                </c:pt>
                <c:pt idx="7">
                  <c:v>1.52</c:v>
                </c:pt>
                <c:pt idx="8">
                  <c:v>1.54</c:v>
                </c:pt>
                <c:pt idx="9">
                  <c:v>1.51</c:v>
                </c:pt>
                <c:pt idx="10">
                  <c:v>1.51</c:v>
                </c:pt>
                <c:pt idx="11">
                  <c:v>1.49</c:v>
                </c:pt>
                <c:pt idx="12">
                  <c:v>1.52</c:v>
                </c:pt>
                <c:pt idx="13">
                  <c:v>1.51</c:v>
                </c:pt>
                <c:pt idx="14">
                  <c:v>1.51</c:v>
                </c:pt>
                <c:pt idx="15">
                  <c:v>1.53</c:v>
                </c:pt>
                <c:pt idx="16">
                  <c:v>1.5</c:v>
                </c:pt>
                <c:pt idx="17">
                  <c:v>1.47</c:v>
                </c:pt>
                <c:pt idx="18">
                  <c:v>1.48</c:v>
                </c:pt>
                <c:pt idx="19">
                  <c:v>1.5</c:v>
                </c:pt>
                <c:pt idx="20">
                  <c:v>1.51</c:v>
                </c:pt>
                <c:pt idx="21">
                  <c:v>1.53</c:v>
                </c:pt>
                <c:pt idx="22">
                  <c:v>1.55</c:v>
                </c:pt>
                <c:pt idx="23">
                  <c:v>1.54</c:v>
                </c:pt>
                <c:pt idx="24">
                  <c:v>1.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9</c:v>
                </c:pt>
                <c:pt idx="3">
                  <c:v>9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69</c:v>
                </c:pt>
                <c:pt idx="3">
                  <c:v>4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3</c:v>
                </c:pt>
                <c:pt idx="3">
                  <c:v>12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3</c:v>
                </c:pt>
                <c:pt idx="3">
                  <c:v>11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0.0"/>
          <c:min val="3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11</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1</c:v>
                </c:pt>
                <c:pt idx="3">
                  <c:v>9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1</c:v>
                </c:pt>
                <c:pt idx="2">
                  <c:v>154</c:v>
                </c:pt>
                <c:pt idx="3">
                  <c:v>15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7</c:v>
                </c:pt>
                <c:pt idx="3">
                  <c:v>1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97</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8.4"/>
          <c:min val="76.8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6</c:v>
                </c:pt>
                <c:pt idx="2">
                  <c:v>48</c:v>
                </c:pt>
                <c:pt idx="3">
                  <c:v>4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57</c:v>
                </c:pt>
                <c:pt idx="3">
                  <c:v>5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vlon Inc</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24</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c:v>
                </c:pt>
                <c:pt idx="2">
                  <c:v>23</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081</c:v>
                </c:pt>
                <c:pt idx="2">
                  <c:v>1956</c:v>
                </c:pt>
                <c:pt idx="3">
                  <c:v>20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vlon Inc</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7</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1</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82</c:v>
                </c:pt>
                <c:pt idx="3">
                  <c:v>5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0</c:v>
                </c:pt>
                <c:pt idx="3">
                  <c:v>10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9.6"/>
          <c:min val="4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9</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09</c:v>
                </c:pt>
                <c:pt idx="3">
                  <c:v>10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1</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34</c:v>
                </c:pt>
                <c:pt idx="3">
                  <c:v>14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94</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4.0"/>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c:v>
                </c:pt>
                <c:pt idx="2">
                  <c:v>34</c:v>
                </c:pt>
                <c:pt idx="3">
                  <c:v>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09</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609</c:v>
                </c:pt>
                <c:pt idx="3">
                  <c:v>71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6</c:v>
                </c:pt>
                <c:pt idx="2">
                  <c:v>87</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55.6"/>
          <c:min val="9.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06</c:v>
                </c:pt>
                <c:pt idx="3">
                  <c:v>1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4</c:v>
                </c:pt>
                <c:pt idx="2">
                  <c:v>111</c:v>
                </c:pt>
                <c:pt idx="3">
                  <c:v>12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6</c:v>
                </c:pt>
                <c:pt idx="3">
                  <c:v>10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1</c:v>
                </c:pt>
                <c:pt idx="3">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5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64,4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33,8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76,8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64452</c:v>
                </c:pt>
                <c:pt idx="1">
                  <c:v>2034657</c:v>
                </c:pt>
                <c:pt idx="2">
                  <c:v>2019091</c:v>
                </c:pt>
                <c:pt idx="3">
                  <c:v>1887306</c:v>
                </c:pt>
                <c:pt idx="4">
                  <c:v>2176884</c:v>
                </c:pt>
                <c:pt idx="5">
                  <c:v>1724515</c:v>
                </c:pt>
                <c:pt idx="6">
                  <c:v>1657015</c:v>
                </c:pt>
                <c:pt idx="7">
                  <c:v>1901187</c:v>
                </c:pt>
                <c:pt idx="8">
                  <c:v>1987223</c:v>
                </c:pt>
                <c:pt idx="9">
                  <c:v>2192659</c:v>
                </c:pt>
                <c:pt idx="10">
                  <c:v>2363229</c:v>
                </c:pt>
                <c:pt idx="11">
                  <c:v>2490268</c:v>
                </c:pt>
                <c:pt idx="12">
                  <c:v>2361350</c:v>
                </c:pt>
                <c:pt idx="13">
                  <c:v>1933838</c:v>
                </c:pt>
                <c:pt idx="14">
                  <c:v>1927327</c:v>
                </c:pt>
                <c:pt idx="15">
                  <c:v>1831248</c:v>
                </c:pt>
                <c:pt idx="16">
                  <c:v>2258496</c:v>
                </c:pt>
                <c:pt idx="17">
                  <c:v>1691112</c:v>
                </c:pt>
                <c:pt idx="18">
                  <c:v>1694037</c:v>
                </c:pt>
                <c:pt idx="19">
                  <c:v>1930984</c:v>
                </c:pt>
                <c:pt idx="20">
                  <c:v>1899089</c:v>
                </c:pt>
                <c:pt idx="21">
                  <c:v>2099074</c:v>
                </c:pt>
                <c:pt idx="22">
                  <c:v>2369251</c:v>
                </c:pt>
                <c:pt idx="23">
                  <c:v>2411175</c:v>
                </c:pt>
                <c:pt idx="24">
                  <c:v>22768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1</c:v>
                </c:pt>
                <c:pt idx="1">
                  <c:v>0.99</c:v>
                </c:pt>
                <c:pt idx="2">
                  <c:v>0.98</c:v>
                </c:pt>
                <c:pt idx="3">
                  <c:v>0.98</c:v>
                </c:pt>
                <c:pt idx="4">
                  <c:v>0.99</c:v>
                </c:pt>
                <c:pt idx="5">
                  <c:v>0.97</c:v>
                </c:pt>
                <c:pt idx="6">
                  <c:v>0.99</c:v>
                </c:pt>
                <c:pt idx="7">
                  <c:v>1.01</c:v>
                </c:pt>
                <c:pt idx="8">
                  <c:v>1.05</c:v>
                </c:pt>
                <c:pt idx="9">
                  <c:v>1.06</c:v>
                </c:pt>
                <c:pt idx="10">
                  <c:v>1.07</c:v>
                </c:pt>
                <c:pt idx="11">
                  <c:v>1.07</c:v>
                </c:pt>
                <c:pt idx="12">
                  <c:v>1.06</c:v>
                </c:pt>
                <c:pt idx="13">
                  <c:v>1.04</c:v>
                </c:pt>
                <c:pt idx="14">
                  <c:v>1.02</c:v>
                </c:pt>
                <c:pt idx="15">
                  <c:v>1.04</c:v>
                </c:pt>
                <c:pt idx="16">
                  <c:v>1.08</c:v>
                </c:pt>
                <c:pt idx="17">
                  <c:v>0.99</c:v>
                </c:pt>
                <c:pt idx="18">
                  <c:v>0.99</c:v>
                </c:pt>
                <c:pt idx="19">
                  <c:v>1.0</c:v>
                </c:pt>
                <c:pt idx="20">
                  <c:v>1.01</c:v>
                </c:pt>
                <c:pt idx="21">
                  <c:v>1.02</c:v>
                </c:pt>
                <c:pt idx="22">
                  <c:v>1.05</c:v>
                </c:pt>
                <c:pt idx="23">
                  <c:v>1.03</c:v>
                </c:pt>
                <c:pt idx="24">
                  <c:v>1.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5</c:v>
                </c:pt>
                <c:pt idx="2">
                  <c:v>34</c:v>
                </c:pt>
                <c:pt idx="3">
                  <c:v>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7190</c:v>
                </c:pt>
                <c:pt idx="2">
                  <c:v>984138</c:v>
                </c:pt>
                <c:pt idx="3">
                  <c:v>84023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3</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4</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7</c:v>
                </c:pt>
                <c:pt idx="3">
                  <c:v>1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80965.5999999999"/>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26</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2</c:v>
                </c:pt>
                <c:pt idx="3">
                  <c:v>9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6</c:v>
                </c:pt>
                <c:pt idx="2">
                  <c:v>77</c:v>
                </c:pt>
                <c:pt idx="3">
                  <c:v>4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8</c:v>
                </c:pt>
                <c:pt idx="3">
                  <c:v>12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100</c:v>
                </c:pt>
                <c:pt idx="3">
                  <c:v>10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33</c:v>
                </c:pt>
                <c:pt idx="2">
                  <c:v>538</c:v>
                </c:pt>
                <c:pt idx="3">
                  <c:v>6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45.6"/>
          <c:min val="3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1</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0</c:v>
                </c:pt>
                <c:pt idx="2">
                  <c:v>154</c:v>
                </c:pt>
                <c:pt idx="3">
                  <c:v>15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26</c:v>
                </c:pt>
                <c:pt idx="3">
                  <c:v>13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8</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48</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9.6"/>
          <c:min val="77.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0</c:v>
                </c:pt>
                <c:pt idx="2">
                  <c:v>99</c:v>
                </c:pt>
                <c:pt idx="3">
                  <c:v>2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07</c:v>
                </c:pt>
                <c:pt idx="3">
                  <c:v>9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5</c:v>
                </c:pt>
                <c:pt idx="2">
                  <c:v>75</c:v>
                </c:pt>
                <c:pt idx="3">
                  <c:v>7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94</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8.0"/>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4</c:v>
                </c:pt>
                <c:pt idx="2">
                  <c:v>164</c:v>
                </c:pt>
                <c:pt idx="3">
                  <c:v>17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2</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92</c:v>
                </c:pt>
                <c:pt idx="3">
                  <c:v>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7</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1.2"/>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1</c:v>
                </c:pt>
                <c:pt idx="2">
                  <c:v>308</c:v>
                </c:pt>
                <c:pt idx="3">
                  <c:v>20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7</c:v>
                </c:pt>
                <c:pt idx="3">
                  <c:v>4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7</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5</c:v>
                </c:pt>
                <c:pt idx="2">
                  <c:v>182</c:v>
                </c:pt>
                <c:pt idx="3">
                  <c:v>32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4</c:v>
                </c:pt>
                <c:pt idx="2">
                  <c:v>106</c:v>
                </c:pt>
                <c:pt idx="3">
                  <c:v>10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7.59999999999997"/>
          <c:min val="3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03</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5</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13</c:v>
                </c:pt>
                <c:pt idx="3">
                  <c:v>8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94</c:v>
                </c:pt>
                <c:pt idx="3">
                  <c:v>9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2</c:v>
                </c:pt>
                <c:pt idx="2">
                  <c:v>126</c:v>
                </c:pt>
                <c:pt idx="3">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96,1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69,1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21,7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96125</c:v>
                </c:pt>
                <c:pt idx="1">
                  <c:v>1620755</c:v>
                </c:pt>
                <c:pt idx="2">
                  <c:v>1667864</c:v>
                </c:pt>
                <c:pt idx="3">
                  <c:v>1615510</c:v>
                </c:pt>
                <c:pt idx="4">
                  <c:v>2003087</c:v>
                </c:pt>
                <c:pt idx="5">
                  <c:v>1444511</c:v>
                </c:pt>
                <c:pt idx="6">
                  <c:v>1372310</c:v>
                </c:pt>
                <c:pt idx="7">
                  <c:v>1583866</c:v>
                </c:pt>
                <c:pt idx="8">
                  <c:v>1639758</c:v>
                </c:pt>
                <c:pt idx="9">
                  <c:v>1753464</c:v>
                </c:pt>
                <c:pt idx="10">
                  <c:v>1844583</c:v>
                </c:pt>
                <c:pt idx="11">
                  <c:v>2047417</c:v>
                </c:pt>
                <c:pt idx="12">
                  <c:v>1987190</c:v>
                </c:pt>
                <c:pt idx="13">
                  <c:v>1569107</c:v>
                </c:pt>
                <c:pt idx="14">
                  <c:v>1554031</c:v>
                </c:pt>
                <c:pt idx="15">
                  <c:v>1499498</c:v>
                </c:pt>
                <c:pt idx="16">
                  <c:v>1962357</c:v>
                </c:pt>
                <c:pt idx="17">
                  <c:v>1342437</c:v>
                </c:pt>
                <c:pt idx="18">
                  <c:v>1392476</c:v>
                </c:pt>
                <c:pt idx="19">
                  <c:v>1593834</c:v>
                </c:pt>
                <c:pt idx="20">
                  <c:v>1511475</c:v>
                </c:pt>
                <c:pt idx="21">
                  <c:v>1633178</c:v>
                </c:pt>
                <c:pt idx="22">
                  <c:v>1842685</c:v>
                </c:pt>
                <c:pt idx="23">
                  <c:v>1913041</c:v>
                </c:pt>
                <c:pt idx="24">
                  <c:v>182175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3</c:v>
                </c:pt>
                <c:pt idx="1">
                  <c:v>3.81</c:v>
                </c:pt>
                <c:pt idx="2">
                  <c:v>3.4</c:v>
                </c:pt>
                <c:pt idx="3">
                  <c:v>3.3</c:v>
                </c:pt>
                <c:pt idx="4">
                  <c:v>3.07</c:v>
                </c:pt>
                <c:pt idx="5">
                  <c:v>3.56</c:v>
                </c:pt>
                <c:pt idx="6">
                  <c:v>3.74</c:v>
                </c:pt>
                <c:pt idx="7">
                  <c:v>3.77</c:v>
                </c:pt>
                <c:pt idx="8">
                  <c:v>3.79</c:v>
                </c:pt>
                <c:pt idx="9">
                  <c:v>3.85</c:v>
                </c:pt>
                <c:pt idx="10">
                  <c:v>3.86</c:v>
                </c:pt>
                <c:pt idx="11">
                  <c:v>3.83</c:v>
                </c:pt>
                <c:pt idx="12">
                  <c:v>3.77</c:v>
                </c:pt>
                <c:pt idx="13">
                  <c:v>3.8</c:v>
                </c:pt>
                <c:pt idx="14">
                  <c:v>3.52</c:v>
                </c:pt>
                <c:pt idx="15">
                  <c:v>3.4</c:v>
                </c:pt>
                <c:pt idx="16">
                  <c:v>3.22</c:v>
                </c:pt>
                <c:pt idx="17">
                  <c:v>3.6</c:v>
                </c:pt>
                <c:pt idx="18">
                  <c:v>3.76</c:v>
                </c:pt>
                <c:pt idx="19">
                  <c:v>3.8</c:v>
                </c:pt>
                <c:pt idx="20">
                  <c:v>3.72</c:v>
                </c:pt>
                <c:pt idx="21">
                  <c:v>3.74</c:v>
                </c:pt>
                <c:pt idx="22">
                  <c:v>3.81</c:v>
                </c:pt>
                <c:pt idx="23">
                  <c:v>3.81</c:v>
                </c:pt>
                <c:pt idx="24">
                  <c:v>3.7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7</c:v>
                </c:pt>
                <c:pt idx="2">
                  <c:v>242</c:v>
                </c:pt>
                <c:pt idx="3">
                  <c:v>24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4</c:v>
                </c:pt>
                <c:pt idx="3">
                  <c:v>8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4</c:v>
                </c:pt>
                <c:pt idx="2">
                  <c:v>121</c:v>
                </c:pt>
                <c:pt idx="3">
                  <c:v>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6</c:v>
                </c:pt>
                <c:pt idx="2">
                  <c:v>68</c:v>
                </c:pt>
                <c:pt idx="3">
                  <c:v>6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98</c:v>
                </c:pt>
                <c:pt idx="3">
                  <c:v>10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91.59999999999997"/>
          <c:min val="5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13</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31</c:v>
                </c:pt>
                <c:pt idx="3">
                  <c:v>13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9</c:v>
                </c:pt>
                <c:pt idx="3">
                  <c:v>8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4</c:v>
                </c:pt>
                <c:pt idx="2">
                  <c:v>121</c:v>
                </c:pt>
                <c:pt idx="3">
                  <c:v>11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0</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8.4"/>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2</c:v>
                </c:pt>
                <c:pt idx="3">
                  <c:v>8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7</c:v>
                </c:pt>
                <c:pt idx="2">
                  <c:v>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0</c:v>
                </c:pt>
                <c:pt idx="3">
                  <c:v>14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19</c:v>
                </c:pt>
                <c:pt idx="3">
                  <c:v>13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99</c:v>
                </c:pt>
                <c:pt idx="2">
                  <c:v>24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8.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9</c:v>
                </c:pt>
                <c:pt idx="2">
                  <c:v>196</c:v>
                </c:pt>
                <c:pt idx="3">
                  <c:v>1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7</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58</c:v>
                </c:pt>
                <c:pt idx="2">
                  <c:v>255</c:v>
                </c:pt>
                <c:pt idx="3">
                  <c:v>29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62</c:v>
                </c:pt>
                <c:pt idx="2">
                  <c:v>223</c:v>
                </c:pt>
                <c:pt idx="3">
                  <c:v>1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87</c:v>
                </c:pt>
                <c:pt idx="3">
                  <c:v>8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57.59999999999997"/>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8</c:v>
                </c:pt>
                <c:pt idx="2">
                  <c:v>94</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4</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100</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9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1</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369,4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60,8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989,5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369435</c:v>
                </c:pt>
                <c:pt idx="1">
                  <c:v>6266166</c:v>
                </c:pt>
                <c:pt idx="2">
                  <c:v>6188218</c:v>
                </c:pt>
                <c:pt idx="3">
                  <c:v>5452124</c:v>
                </c:pt>
                <c:pt idx="4">
                  <c:v>6394831</c:v>
                </c:pt>
                <c:pt idx="5">
                  <c:v>5631497</c:v>
                </c:pt>
                <c:pt idx="6">
                  <c:v>5948146</c:v>
                </c:pt>
                <c:pt idx="7">
                  <c:v>7993665</c:v>
                </c:pt>
                <c:pt idx="8">
                  <c:v>7199787</c:v>
                </c:pt>
                <c:pt idx="9">
                  <c:v>8452795</c:v>
                </c:pt>
                <c:pt idx="10">
                  <c:v>8704926</c:v>
                </c:pt>
                <c:pt idx="11">
                  <c:v>8315124</c:v>
                </c:pt>
                <c:pt idx="12">
                  <c:v>7444752</c:v>
                </c:pt>
                <c:pt idx="13">
                  <c:v>6460808</c:v>
                </c:pt>
                <c:pt idx="14">
                  <c:v>6229707</c:v>
                </c:pt>
                <c:pt idx="15">
                  <c:v>5580007</c:v>
                </c:pt>
                <c:pt idx="16">
                  <c:v>6415978</c:v>
                </c:pt>
                <c:pt idx="17">
                  <c:v>5289982</c:v>
                </c:pt>
                <c:pt idx="18">
                  <c:v>5427101</c:v>
                </c:pt>
                <c:pt idx="19">
                  <c:v>6273881</c:v>
                </c:pt>
                <c:pt idx="20">
                  <c:v>6902965</c:v>
                </c:pt>
                <c:pt idx="21">
                  <c:v>7380731</c:v>
                </c:pt>
                <c:pt idx="22">
                  <c:v>7994547</c:v>
                </c:pt>
                <c:pt idx="23">
                  <c:v>8461793</c:v>
                </c:pt>
                <c:pt idx="24">
                  <c:v>89895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7</c:v>
                </c:pt>
                <c:pt idx="1">
                  <c:v>3.75</c:v>
                </c:pt>
                <c:pt idx="2">
                  <c:v>3.54</c:v>
                </c:pt>
                <c:pt idx="3">
                  <c:v>3.42</c:v>
                </c:pt>
                <c:pt idx="4">
                  <c:v>3.77</c:v>
                </c:pt>
                <c:pt idx="5">
                  <c:v>3.64</c:v>
                </c:pt>
                <c:pt idx="6">
                  <c:v>3.37</c:v>
                </c:pt>
                <c:pt idx="7">
                  <c:v>3.76</c:v>
                </c:pt>
                <c:pt idx="8">
                  <c:v>3.72</c:v>
                </c:pt>
                <c:pt idx="9">
                  <c:v>3.79</c:v>
                </c:pt>
                <c:pt idx="10">
                  <c:v>3.72</c:v>
                </c:pt>
                <c:pt idx="11">
                  <c:v>3.87</c:v>
                </c:pt>
                <c:pt idx="12">
                  <c:v>3.95</c:v>
                </c:pt>
                <c:pt idx="13">
                  <c:v>4.09</c:v>
                </c:pt>
                <c:pt idx="14">
                  <c:v>3.68</c:v>
                </c:pt>
                <c:pt idx="15">
                  <c:v>3.72</c:v>
                </c:pt>
                <c:pt idx="16">
                  <c:v>3.85</c:v>
                </c:pt>
                <c:pt idx="17">
                  <c:v>3.87</c:v>
                </c:pt>
                <c:pt idx="18">
                  <c:v>3.76</c:v>
                </c:pt>
                <c:pt idx="19">
                  <c:v>3.84</c:v>
                </c:pt>
                <c:pt idx="20">
                  <c:v>3.51</c:v>
                </c:pt>
                <c:pt idx="21">
                  <c:v>3.54</c:v>
                </c:pt>
                <c:pt idx="22">
                  <c:v>3.7</c:v>
                </c:pt>
                <c:pt idx="23">
                  <c:v>3.69</c:v>
                </c:pt>
                <c:pt idx="24">
                  <c:v>3.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2,4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7,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0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2423</c:v>
                </c:pt>
                <c:pt idx="1">
                  <c:v>88835</c:v>
                </c:pt>
                <c:pt idx="2">
                  <c:v>90431</c:v>
                </c:pt>
                <c:pt idx="3">
                  <c:v>87494</c:v>
                </c:pt>
                <c:pt idx="4">
                  <c:v>97151</c:v>
                </c:pt>
                <c:pt idx="5">
                  <c:v>99666</c:v>
                </c:pt>
                <c:pt idx="6">
                  <c:v>94479</c:v>
                </c:pt>
                <c:pt idx="7">
                  <c:v>113285</c:v>
                </c:pt>
                <c:pt idx="8">
                  <c:v>106434</c:v>
                </c:pt>
                <c:pt idx="9">
                  <c:v>107760</c:v>
                </c:pt>
                <c:pt idx="10">
                  <c:v>102820</c:v>
                </c:pt>
                <c:pt idx="11">
                  <c:v>109052</c:v>
                </c:pt>
                <c:pt idx="12">
                  <c:v>113510</c:v>
                </c:pt>
                <c:pt idx="13">
                  <c:v>107433</c:v>
                </c:pt>
                <c:pt idx="14">
                  <c:v>110893</c:v>
                </c:pt>
                <c:pt idx="15">
                  <c:v>103604</c:v>
                </c:pt>
                <c:pt idx="16">
                  <c:v>106751</c:v>
                </c:pt>
                <c:pt idx="17">
                  <c:v>109417</c:v>
                </c:pt>
                <c:pt idx="18">
                  <c:v>108437</c:v>
                </c:pt>
                <c:pt idx="19">
                  <c:v>122280</c:v>
                </c:pt>
                <c:pt idx="20">
                  <c:v>114972</c:v>
                </c:pt>
                <c:pt idx="21">
                  <c:v>117992</c:v>
                </c:pt>
                <c:pt idx="22">
                  <c:v>116259</c:v>
                </c:pt>
                <c:pt idx="23">
                  <c:v>115742</c:v>
                </c:pt>
                <c:pt idx="24">
                  <c:v>1090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8</c:v>
                </c:pt>
                <c:pt idx="1">
                  <c:v>1.4</c:v>
                </c:pt>
                <c:pt idx="2">
                  <c:v>1.39</c:v>
                </c:pt>
                <c:pt idx="3">
                  <c:v>1.39</c:v>
                </c:pt>
                <c:pt idx="4">
                  <c:v>1.38</c:v>
                </c:pt>
                <c:pt idx="5">
                  <c:v>1.39</c:v>
                </c:pt>
                <c:pt idx="6">
                  <c:v>1.4</c:v>
                </c:pt>
                <c:pt idx="7">
                  <c:v>1.46</c:v>
                </c:pt>
                <c:pt idx="8">
                  <c:v>1.45</c:v>
                </c:pt>
                <c:pt idx="9">
                  <c:v>1.42</c:v>
                </c:pt>
                <c:pt idx="10">
                  <c:v>1.43</c:v>
                </c:pt>
                <c:pt idx="11">
                  <c:v>1.44</c:v>
                </c:pt>
                <c:pt idx="12">
                  <c:v>1.44</c:v>
                </c:pt>
                <c:pt idx="13">
                  <c:v>1.45</c:v>
                </c:pt>
                <c:pt idx="14">
                  <c:v>1.45</c:v>
                </c:pt>
                <c:pt idx="15">
                  <c:v>1.45</c:v>
                </c:pt>
                <c:pt idx="16">
                  <c:v>1.45</c:v>
                </c:pt>
                <c:pt idx="17">
                  <c:v>1.47</c:v>
                </c:pt>
                <c:pt idx="18">
                  <c:v>1.47</c:v>
                </c:pt>
                <c:pt idx="19">
                  <c:v>1.48</c:v>
                </c:pt>
                <c:pt idx="20">
                  <c:v>1.49</c:v>
                </c:pt>
                <c:pt idx="21">
                  <c:v>1.5</c:v>
                </c:pt>
                <c:pt idx="22">
                  <c:v>1.49</c:v>
                </c:pt>
                <c:pt idx="23">
                  <c:v>1.42</c:v>
                </c:pt>
                <c:pt idx="24">
                  <c:v>1.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7</c:v>
                </c:pt>
                <c:pt idx="2">
                  <c:v>420</c:v>
                </c:pt>
                <c:pt idx="3">
                  <c:v>3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8</c:v>
                </c:pt>
                <c:pt idx="3">
                  <c:v>10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86</c:v>
                </c:pt>
                <c:pt idx="2">
                  <c:v>890</c:v>
                </c:pt>
                <c:pt idx="3">
                  <c:v>133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95</c:v>
                </c:pt>
                <c:pt idx="3">
                  <c:v>8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05.6"/>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0</c:v>
                </c:pt>
                <c:pt idx="3">
                  <c:v>8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7</c:v>
                </c:pt>
                <c:pt idx="2">
                  <c:v>67</c:v>
                </c:pt>
                <c:pt idx="3">
                  <c:v>6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76</c:v>
                </c:pt>
                <c:pt idx="3">
                  <c:v>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2</c:v>
                </c:pt>
                <c:pt idx="2">
                  <c:v>58</c:v>
                </c:pt>
                <c:pt idx="3">
                  <c:v>5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19</c:v>
                </c:pt>
                <c:pt idx="3">
                  <c:v>11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00</c:v>
                </c:pt>
                <c:pt idx="2">
                  <c:v>412</c:v>
                </c:pt>
                <c:pt idx="3">
                  <c:v>1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494.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104</c:v>
                </c:pt>
                <c:pt idx="3">
                  <c:v>9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94</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75</c:v>
                </c:pt>
                <c:pt idx="2">
                  <c:v>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8</c:v>
                </c:pt>
                <c:pt idx="3">
                  <c:v>9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3</c:v>
                </c:pt>
                <c:pt idx="3">
                  <c:v>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12</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99</c:v>
                </c:pt>
                <c:pt idx="3">
                  <c:v>9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3</c:v>
                </c:pt>
                <c:pt idx="2">
                  <c:v>4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5</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9</c:v>
                </c:pt>
                <c:pt idx="3">
                  <c:v>10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23</c:v>
                </c:pt>
                <c:pt idx="3">
                  <c:v>13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129</c:v>
                </c:pt>
                <c:pt idx="2">
                  <c:v>2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8</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22.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0</c:v>
                </c:pt>
                <c:pt idx="3">
                  <c:v>8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5</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87</c:v>
                </c:pt>
                <c:pt idx="2">
                  <c:v>4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104</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13,3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6,6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97,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13330</c:v>
                </c:pt>
                <c:pt idx="1">
                  <c:v>751864</c:v>
                </c:pt>
                <c:pt idx="2">
                  <c:v>730307</c:v>
                </c:pt>
                <c:pt idx="3">
                  <c:v>675308</c:v>
                </c:pt>
                <c:pt idx="4">
                  <c:v>695781</c:v>
                </c:pt>
                <c:pt idx="5">
                  <c:v>701053</c:v>
                </c:pt>
                <c:pt idx="6">
                  <c:v>651332</c:v>
                </c:pt>
                <c:pt idx="7">
                  <c:v>766774</c:v>
                </c:pt>
                <c:pt idx="8">
                  <c:v>764207</c:v>
                </c:pt>
                <c:pt idx="9">
                  <c:v>818709</c:v>
                </c:pt>
                <c:pt idx="10">
                  <c:v>831988</c:v>
                </c:pt>
                <c:pt idx="11">
                  <c:v>840755</c:v>
                </c:pt>
                <c:pt idx="12">
                  <c:v>793861</c:v>
                </c:pt>
                <c:pt idx="13">
                  <c:v>726699</c:v>
                </c:pt>
                <c:pt idx="14">
                  <c:v>703863</c:v>
                </c:pt>
                <c:pt idx="15">
                  <c:v>657216</c:v>
                </c:pt>
                <c:pt idx="16">
                  <c:v>781488</c:v>
                </c:pt>
                <c:pt idx="17">
                  <c:v>668980</c:v>
                </c:pt>
                <c:pt idx="18">
                  <c:v>668545</c:v>
                </c:pt>
                <c:pt idx="19">
                  <c:v>755725</c:v>
                </c:pt>
                <c:pt idx="20">
                  <c:v>752171</c:v>
                </c:pt>
                <c:pt idx="21">
                  <c:v>806996</c:v>
                </c:pt>
                <c:pt idx="22">
                  <c:v>827152</c:v>
                </c:pt>
                <c:pt idx="23">
                  <c:v>843007</c:v>
                </c:pt>
                <c:pt idx="24">
                  <c:v>7975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95</c:v>
                </c:pt>
                <c:pt idx="1">
                  <c:v>0.95</c:v>
                </c:pt>
                <c:pt idx="2">
                  <c:v>0.93</c:v>
                </c:pt>
                <c:pt idx="3">
                  <c:v>0.92</c:v>
                </c:pt>
                <c:pt idx="4">
                  <c:v>0.92</c:v>
                </c:pt>
                <c:pt idx="5">
                  <c:v>0.9</c:v>
                </c:pt>
                <c:pt idx="6">
                  <c:v>0.92</c:v>
                </c:pt>
                <c:pt idx="7">
                  <c:v>0.95</c:v>
                </c:pt>
                <c:pt idx="8">
                  <c:v>0.97</c:v>
                </c:pt>
                <c:pt idx="9">
                  <c:v>0.98</c:v>
                </c:pt>
                <c:pt idx="10">
                  <c:v>1.0</c:v>
                </c:pt>
                <c:pt idx="11">
                  <c:v>0.99</c:v>
                </c:pt>
                <c:pt idx="12">
                  <c:v>0.97</c:v>
                </c:pt>
                <c:pt idx="13">
                  <c:v>0.97</c:v>
                </c:pt>
                <c:pt idx="14">
                  <c:v>0.95</c:v>
                </c:pt>
                <c:pt idx="15">
                  <c:v>0.96</c:v>
                </c:pt>
                <c:pt idx="16">
                  <c:v>1.01</c:v>
                </c:pt>
                <c:pt idx="17">
                  <c:v>0.93</c:v>
                </c:pt>
                <c:pt idx="18">
                  <c:v>0.94</c:v>
                </c:pt>
                <c:pt idx="19">
                  <c:v>0.96</c:v>
                </c:pt>
                <c:pt idx="20">
                  <c:v>0.97</c:v>
                </c:pt>
                <c:pt idx="21">
                  <c:v>0.98</c:v>
                </c:pt>
                <c:pt idx="22">
                  <c:v>0.98</c:v>
                </c:pt>
                <c:pt idx="23">
                  <c:v>0.98</c:v>
                </c:pt>
                <c:pt idx="24">
                  <c:v>0.9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91</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4</c:v>
                </c:pt>
                <c:pt idx="2">
                  <c:v>78</c:v>
                </c:pt>
                <c:pt idx="3">
                  <c:v>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08</c:v>
                </c:pt>
                <c:pt idx="3">
                  <c:v>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4.0"/>
          <c:min val="5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8</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6</c:v>
                </c:pt>
                <c:pt idx="2">
                  <c:v>148</c:v>
                </c:pt>
                <c:pt idx="3">
                  <c:v>15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7</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06</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4.79999999999998"/>
          <c:min val="76.8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1</c:v>
                </c:pt>
                <c:pt idx="2">
                  <c:v>44</c:v>
                </c:pt>
                <c:pt idx="3">
                  <c:v>3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30</c:v>
                </c:pt>
                <c:pt idx="3">
                  <c:v>12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7</c:v>
                </c:pt>
                <c:pt idx="2">
                  <c:v>79</c:v>
                </c:pt>
                <c:pt idx="3">
                  <c:v>8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85</c:v>
                </c:pt>
                <c:pt idx="3">
                  <c:v>8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6.0"/>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1</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10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93</c:v>
                </c:pt>
                <c:pt idx="3">
                  <c:v>8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94</c:v>
                </c:pt>
                <c:pt idx="3">
                  <c:v>9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06</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8</c:v>
                </c:pt>
                <c:pt idx="2">
                  <c:v>79</c:v>
                </c:pt>
                <c:pt idx="3">
                  <c:v>8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2</c:v>
                </c:pt>
                <c:pt idx="2">
                  <c:v>68</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64</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4</c:v>
                </c:pt>
                <c:pt idx="2">
                  <c:v>177</c:v>
                </c:pt>
                <c:pt idx="3">
                  <c:v>16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92</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5</c:v>
                </c:pt>
                <c:pt idx="3">
                  <c:v>8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2.4"/>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0</c:v>
                </c:pt>
                <c:pt idx="2">
                  <c:v>91</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6</c:v>
                </c:pt>
                <c:pt idx="3">
                  <c:v>12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93</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8</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5</c:v>
                </c:pt>
                <c:pt idx="3">
                  <c:v>8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99</c:v>
                </c:pt>
                <c:pt idx="3">
                  <c:v>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70</c:v>
                </c:pt>
                <c:pt idx="3">
                  <c:v>5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3,9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52,6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03,2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13924</c:v>
                </c:pt>
                <c:pt idx="1">
                  <c:v>554660</c:v>
                </c:pt>
                <c:pt idx="2">
                  <c:v>553597</c:v>
                </c:pt>
                <c:pt idx="3">
                  <c:v>530367</c:v>
                </c:pt>
                <c:pt idx="4">
                  <c:v>588811</c:v>
                </c:pt>
                <c:pt idx="5">
                  <c:v>564775</c:v>
                </c:pt>
                <c:pt idx="6">
                  <c:v>515509</c:v>
                </c:pt>
                <c:pt idx="7">
                  <c:v>599997</c:v>
                </c:pt>
                <c:pt idx="8">
                  <c:v>593983</c:v>
                </c:pt>
                <c:pt idx="9">
                  <c:v>623086</c:v>
                </c:pt>
                <c:pt idx="10">
                  <c:v>622904</c:v>
                </c:pt>
                <c:pt idx="11">
                  <c:v>646349</c:v>
                </c:pt>
                <c:pt idx="12">
                  <c:v>616839</c:v>
                </c:pt>
                <c:pt idx="13">
                  <c:v>552626</c:v>
                </c:pt>
                <c:pt idx="14">
                  <c:v>533111</c:v>
                </c:pt>
                <c:pt idx="15">
                  <c:v>506031</c:v>
                </c:pt>
                <c:pt idx="16">
                  <c:v>572892</c:v>
                </c:pt>
                <c:pt idx="17">
                  <c:v>519874</c:v>
                </c:pt>
                <c:pt idx="18">
                  <c:v>516583</c:v>
                </c:pt>
                <c:pt idx="19">
                  <c:v>596443</c:v>
                </c:pt>
                <c:pt idx="20">
                  <c:v>582529</c:v>
                </c:pt>
                <c:pt idx="21">
                  <c:v>615292</c:v>
                </c:pt>
                <c:pt idx="22">
                  <c:v>656336</c:v>
                </c:pt>
                <c:pt idx="23">
                  <c:v>639901</c:v>
                </c:pt>
                <c:pt idx="24">
                  <c:v>60323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1</c:v>
                </c:pt>
                <c:pt idx="1">
                  <c:v>3.88</c:v>
                </c:pt>
                <c:pt idx="2">
                  <c:v>3.82</c:v>
                </c:pt>
                <c:pt idx="3">
                  <c:v>3.68</c:v>
                </c:pt>
                <c:pt idx="4">
                  <c:v>3.18</c:v>
                </c:pt>
                <c:pt idx="5">
                  <c:v>3.36</c:v>
                </c:pt>
                <c:pt idx="6">
                  <c:v>3.59</c:v>
                </c:pt>
                <c:pt idx="7">
                  <c:v>3.71</c:v>
                </c:pt>
                <c:pt idx="8">
                  <c:v>3.66</c:v>
                </c:pt>
                <c:pt idx="9">
                  <c:v>3.71</c:v>
                </c:pt>
                <c:pt idx="10">
                  <c:v>3.72</c:v>
                </c:pt>
                <c:pt idx="11">
                  <c:v>3.68</c:v>
                </c:pt>
                <c:pt idx="12">
                  <c:v>3.65</c:v>
                </c:pt>
                <c:pt idx="13">
                  <c:v>3.67</c:v>
                </c:pt>
                <c:pt idx="14">
                  <c:v>3.64</c:v>
                </c:pt>
                <c:pt idx="15">
                  <c:v>3.6</c:v>
                </c:pt>
                <c:pt idx="16">
                  <c:v>3.35</c:v>
                </c:pt>
                <c:pt idx="17">
                  <c:v>3.56</c:v>
                </c:pt>
                <c:pt idx="18">
                  <c:v>3.6</c:v>
                </c:pt>
                <c:pt idx="19">
                  <c:v>3.64</c:v>
                </c:pt>
                <c:pt idx="20">
                  <c:v>3.59</c:v>
                </c:pt>
                <c:pt idx="21">
                  <c:v>3.61</c:v>
                </c:pt>
                <c:pt idx="22">
                  <c:v>3.67</c:v>
                </c:pt>
                <c:pt idx="23">
                  <c:v>3.64</c:v>
                </c:pt>
                <c:pt idx="24">
                  <c:v>3.6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00</c:v>
                </c:pt>
                <c:pt idx="2">
                  <c:v>412</c:v>
                </c:pt>
                <c:pt idx="3">
                  <c:v>1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494.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104</c:v>
                </c:pt>
                <c:pt idx="3">
                  <c:v>9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94</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75</c:v>
                </c:pt>
                <c:pt idx="2">
                  <c:v>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8</c:v>
                </c:pt>
                <c:pt idx="3">
                  <c:v>9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3</c:v>
                </c:pt>
                <c:pt idx="3">
                  <c:v>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12</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99</c:v>
                </c:pt>
                <c:pt idx="3">
                  <c:v>9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3</c:v>
                </c:pt>
                <c:pt idx="2">
                  <c:v>4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5</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9</c:v>
                </c:pt>
                <c:pt idx="3">
                  <c:v>10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23</c:v>
                </c:pt>
                <c:pt idx="3">
                  <c:v>13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129</c:v>
                </c:pt>
                <c:pt idx="2">
                  <c:v>2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8</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22.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0</c:v>
                </c:pt>
                <c:pt idx="3">
                  <c:v>8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arry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5</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87</c:v>
                </c:pt>
                <c:pt idx="2">
                  <c:v>4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104</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7</c:v>
                </c:pt>
                <c:pt idx="2">
                  <c:v>91</c:v>
                </c:pt>
                <c:pt idx="3">
                  <c:v>9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58</c:v>
                </c:pt>
                <c:pt idx="2">
                  <c:v>164</c:v>
                </c:pt>
                <c:pt idx="3">
                  <c:v>1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5</c:v>
                </c:pt>
                <c:pt idx="2">
                  <c:v>159</c:v>
                </c:pt>
                <c:pt idx="3">
                  <c:v>17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1.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88</c:v>
                </c:pt>
                <c:pt idx="3">
                  <c:v>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94</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12</c:v>
                </c:pt>
                <c:pt idx="3">
                  <c:v>13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7.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7</c:v>
                </c:pt>
                <c:pt idx="2">
                  <c:v>133</c:v>
                </c:pt>
                <c:pt idx="3">
                  <c:v>13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51</c:v>
                </c:pt>
                <c:pt idx="3">
                  <c:v>15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99</c:v>
                </c:pt>
                <c:pt idx="3">
                  <c:v>1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10</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8.4"/>
          <c:min val="78.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15,9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93,5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56,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15984</c:v>
                </c:pt>
                <c:pt idx="1">
                  <c:v>1722747</c:v>
                </c:pt>
                <c:pt idx="2">
                  <c:v>1682685</c:v>
                </c:pt>
                <c:pt idx="3">
                  <c:v>1658219</c:v>
                </c:pt>
                <c:pt idx="4">
                  <c:v>2110212</c:v>
                </c:pt>
                <c:pt idx="5">
                  <c:v>1685693</c:v>
                </c:pt>
                <c:pt idx="6">
                  <c:v>1622254</c:v>
                </c:pt>
                <c:pt idx="7">
                  <c:v>2021302</c:v>
                </c:pt>
                <c:pt idx="8">
                  <c:v>1871627</c:v>
                </c:pt>
                <c:pt idx="9">
                  <c:v>1844400</c:v>
                </c:pt>
                <c:pt idx="10">
                  <c:v>1816065</c:v>
                </c:pt>
                <c:pt idx="11">
                  <c:v>1952265</c:v>
                </c:pt>
                <c:pt idx="12">
                  <c:v>2082803</c:v>
                </c:pt>
                <c:pt idx="13">
                  <c:v>1893546</c:v>
                </c:pt>
                <c:pt idx="14">
                  <c:v>1968075</c:v>
                </c:pt>
                <c:pt idx="15">
                  <c:v>1835422</c:v>
                </c:pt>
                <c:pt idx="16">
                  <c:v>2097127</c:v>
                </c:pt>
                <c:pt idx="17">
                  <c:v>1851496</c:v>
                </c:pt>
                <c:pt idx="18">
                  <c:v>1837201</c:v>
                </c:pt>
                <c:pt idx="19">
                  <c:v>1959208</c:v>
                </c:pt>
                <c:pt idx="20">
                  <c:v>1874155</c:v>
                </c:pt>
                <c:pt idx="21">
                  <c:v>1999993</c:v>
                </c:pt>
                <c:pt idx="22">
                  <c:v>2013170</c:v>
                </c:pt>
                <c:pt idx="23">
                  <c:v>2091396</c:v>
                </c:pt>
                <c:pt idx="24">
                  <c:v>20560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7</c:v>
                </c:pt>
                <c:pt idx="1">
                  <c:v>1.58</c:v>
                </c:pt>
                <c:pt idx="2">
                  <c:v>1.58</c:v>
                </c:pt>
                <c:pt idx="3">
                  <c:v>1.58</c:v>
                </c:pt>
                <c:pt idx="4">
                  <c:v>1.6</c:v>
                </c:pt>
                <c:pt idx="5">
                  <c:v>1.58</c:v>
                </c:pt>
                <c:pt idx="6">
                  <c:v>1.64</c:v>
                </c:pt>
                <c:pt idx="7">
                  <c:v>1.69</c:v>
                </c:pt>
                <c:pt idx="8">
                  <c:v>1.69</c:v>
                </c:pt>
                <c:pt idx="9">
                  <c:v>1.67</c:v>
                </c:pt>
                <c:pt idx="10">
                  <c:v>1.67</c:v>
                </c:pt>
                <c:pt idx="11">
                  <c:v>1.67</c:v>
                </c:pt>
                <c:pt idx="12">
                  <c:v>1.69</c:v>
                </c:pt>
                <c:pt idx="13">
                  <c:v>1.69</c:v>
                </c:pt>
                <c:pt idx="14">
                  <c:v>1.68</c:v>
                </c:pt>
                <c:pt idx="15">
                  <c:v>1.69</c:v>
                </c:pt>
                <c:pt idx="16">
                  <c:v>1.67</c:v>
                </c:pt>
                <c:pt idx="17">
                  <c:v>1.65</c:v>
                </c:pt>
                <c:pt idx="18">
                  <c:v>1.67</c:v>
                </c:pt>
                <c:pt idx="19">
                  <c:v>1.69</c:v>
                </c:pt>
                <c:pt idx="20">
                  <c:v>1.7</c:v>
                </c:pt>
                <c:pt idx="21">
                  <c:v>1.7</c:v>
                </c:pt>
                <c:pt idx="22">
                  <c:v>1.72</c:v>
                </c:pt>
                <c:pt idx="23">
                  <c:v>1.7</c:v>
                </c:pt>
                <c:pt idx="24">
                  <c:v>1.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0</c:v>
                </c:pt>
                <c:pt idx="2">
                  <c:v>65</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4</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4</c:v>
                </c:pt>
                <c:pt idx="2">
                  <c:v>111</c:v>
                </c:pt>
                <c:pt idx="3">
                  <c:v>12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5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0</c:v>
                </c:pt>
                <c:pt idx="2">
                  <c:v>97</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634</c:v>
                </c:pt>
                <c:pt idx="3">
                  <c:v>6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0</c:v>
                </c:pt>
                <c:pt idx="2">
                  <c:v>95</c:v>
                </c:pt>
                <c:pt idx="3">
                  <c:v>10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60.8"/>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6</c:v>
                </c:pt>
                <c:pt idx="2">
                  <c:v>120</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34</c:v>
                </c:pt>
                <c:pt idx="3">
                  <c:v>13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3</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4</c:v>
                </c:pt>
                <c:pt idx="2">
                  <c:v>113</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5.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8</c:v>
                </c:pt>
                <c:pt idx="2">
                  <c:v>117</c:v>
                </c:pt>
                <c:pt idx="3">
                  <c:v>11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584</c:v>
                </c:pt>
                <c:pt idx="3">
                  <c:v>74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81</c:v>
                </c:pt>
                <c:pt idx="3">
                  <c:v>8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98.8"/>
          <c:min val="6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97</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92</c:v>
                </c:pt>
                <c:pt idx="3">
                  <c:v>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05</c:v>
                </c:pt>
                <c:pt idx="3">
                  <c:v>10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07</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8</c:v>
                </c:pt>
                <c:pt idx="2">
                  <c:v>92</c:v>
                </c:pt>
                <c:pt idx="3">
                  <c:v>9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478786</c:v>
                </c:pt>
                <c:pt idx="2">
                  <c:v>1308638</c:v>
                </c:pt>
                <c:pt idx="3">
                  <c:v>32345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35</c:v>
                </c:pt>
                <c:pt idx="2">
                  <c:v>2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7</c:v>
                </c:pt>
                <c:pt idx="2">
                  <c:v>8</c:v>
                </c:pt>
                <c:pt idx="3">
                  <c:v>1904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174543.1999999997"/>
          <c:min val="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66</c:v>
                </c:pt>
                <c:pt idx="2">
                  <c:v>168</c:v>
                </c:pt>
                <c:pt idx="3">
                  <c:v>1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4</c:v>
                </c:pt>
                <c:pt idx="2">
                  <c:v>164</c:v>
                </c:pt>
                <c:pt idx="3">
                  <c:v>17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8</c:v>
                </c:pt>
                <c:pt idx="3">
                  <c:v>4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111</c:v>
                </c:pt>
                <c:pt idx="2">
                  <c:v>16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9</c:v>
                </c:pt>
                <c:pt idx="2">
                  <c:v>81</c:v>
                </c:pt>
                <c:pt idx="3">
                  <c:v>5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1.2"/>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51,1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617,9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548,6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051166</c:v>
                </c:pt>
                <c:pt idx="1">
                  <c:v>11117421</c:v>
                </c:pt>
                <c:pt idx="2">
                  <c:v>11037472</c:v>
                </c:pt>
                <c:pt idx="3">
                  <c:v>10405147</c:v>
                </c:pt>
                <c:pt idx="4">
                  <c:v>11957947</c:v>
                </c:pt>
                <c:pt idx="5">
                  <c:v>9508870</c:v>
                </c:pt>
                <c:pt idx="6">
                  <c:v>9375641</c:v>
                </c:pt>
                <c:pt idx="7">
                  <c:v>10926867</c:v>
                </c:pt>
                <c:pt idx="8">
                  <c:v>10896790</c:v>
                </c:pt>
                <c:pt idx="9">
                  <c:v>12350420</c:v>
                </c:pt>
                <c:pt idx="10">
                  <c:v>13228403</c:v>
                </c:pt>
                <c:pt idx="11">
                  <c:v>13400638</c:v>
                </c:pt>
                <c:pt idx="12">
                  <c:v>12590554</c:v>
                </c:pt>
                <c:pt idx="13">
                  <c:v>10617990</c:v>
                </c:pt>
                <c:pt idx="14">
                  <c:v>10516229</c:v>
                </c:pt>
                <c:pt idx="15">
                  <c:v>10151875</c:v>
                </c:pt>
                <c:pt idx="16">
                  <c:v>12912626</c:v>
                </c:pt>
                <c:pt idx="17">
                  <c:v>9415689</c:v>
                </c:pt>
                <c:pt idx="18">
                  <c:v>9643876</c:v>
                </c:pt>
                <c:pt idx="19">
                  <c:v>10970084</c:v>
                </c:pt>
                <c:pt idx="20">
                  <c:v>10824809</c:v>
                </c:pt>
                <c:pt idx="21">
                  <c:v>12125850</c:v>
                </c:pt>
                <c:pt idx="22">
                  <c:v>13273572</c:v>
                </c:pt>
                <c:pt idx="23">
                  <c:v>13245543</c:v>
                </c:pt>
                <c:pt idx="24">
                  <c:v>1254861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3</c:v>
                </c:pt>
                <c:pt idx="1">
                  <c:v>1.02</c:v>
                </c:pt>
                <c:pt idx="2">
                  <c:v>1.01</c:v>
                </c:pt>
                <c:pt idx="3">
                  <c:v>0.99</c:v>
                </c:pt>
                <c:pt idx="4">
                  <c:v>1.0</c:v>
                </c:pt>
                <c:pt idx="5">
                  <c:v>0.98</c:v>
                </c:pt>
                <c:pt idx="6">
                  <c:v>1.02</c:v>
                </c:pt>
                <c:pt idx="7">
                  <c:v>1.04</c:v>
                </c:pt>
                <c:pt idx="8">
                  <c:v>1.06</c:v>
                </c:pt>
                <c:pt idx="9">
                  <c:v>1.09</c:v>
                </c:pt>
                <c:pt idx="10">
                  <c:v>1.1</c:v>
                </c:pt>
                <c:pt idx="11">
                  <c:v>1.09</c:v>
                </c:pt>
                <c:pt idx="12">
                  <c:v>1.08</c:v>
                </c:pt>
                <c:pt idx="13">
                  <c:v>1.07</c:v>
                </c:pt>
                <c:pt idx="14">
                  <c:v>1.06</c:v>
                </c:pt>
                <c:pt idx="15">
                  <c:v>1.07</c:v>
                </c:pt>
                <c:pt idx="16">
                  <c:v>1.12</c:v>
                </c:pt>
                <c:pt idx="17">
                  <c:v>1.01</c:v>
                </c:pt>
                <c:pt idx="18">
                  <c:v>1.01</c:v>
                </c:pt>
                <c:pt idx="19">
                  <c:v>1.03</c:v>
                </c:pt>
                <c:pt idx="20">
                  <c:v>1.04</c:v>
                </c:pt>
                <c:pt idx="21">
                  <c:v>1.06</c:v>
                </c:pt>
                <c:pt idx="22">
                  <c:v>1.09</c:v>
                </c:pt>
                <c:pt idx="23">
                  <c:v>1.07</c:v>
                </c:pt>
                <c:pt idx="24">
                  <c:v>1.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91</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1</c:v>
                </c:pt>
                <c:pt idx="2">
                  <c:v>71</c:v>
                </c:pt>
                <c:pt idx="3">
                  <c:v>6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08</c:v>
                </c:pt>
                <c:pt idx="3">
                  <c:v>11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5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8</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6</c:v>
                </c:pt>
                <c:pt idx="2">
                  <c:v>149</c:v>
                </c:pt>
                <c:pt idx="3">
                  <c:v>15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7</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05</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6.0"/>
          <c:min val="76.8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1</c:v>
                </c:pt>
                <c:pt idx="2">
                  <c:v>44</c:v>
                </c:pt>
                <c:pt idx="3">
                  <c:v>3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32</c:v>
                </c:pt>
                <c:pt idx="3">
                  <c:v>12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5</c:v>
                </c:pt>
                <c:pt idx="2">
                  <c:v>74</c:v>
                </c:pt>
                <c:pt idx="3">
                  <c:v>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84</c:v>
                </c:pt>
                <c:pt idx="3">
                  <c:v>8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10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93</c:v>
                </c:pt>
                <c:pt idx="3">
                  <c:v>8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4</c:v>
                </c:pt>
                <c:pt idx="3">
                  <c:v>9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06</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9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7</c:v>
                </c:pt>
                <c:pt idx="2">
                  <c:v>3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6</c:v>
                </c:pt>
                <c:pt idx="3">
                  <c:v>12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36</c:v>
                </c:pt>
                <c:pt idx="3">
                  <c:v>12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99</c:v>
                </c:pt>
                <c:pt idx="2">
                  <c:v>24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8.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18</c:v>
                </c:pt>
                <c:pt idx="2">
                  <c:v>376</c:v>
                </c:pt>
                <c:pt idx="3">
                  <c:v>28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10</c:v>
                </c:pt>
                <c:pt idx="3">
                  <c:v>10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7</c:v>
                </c:pt>
                <c:pt idx="2">
                  <c:v>180</c:v>
                </c:pt>
                <c:pt idx="3">
                  <c:v>25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68</c:v>
                </c:pt>
                <c:pt idx="2">
                  <c:v>260</c:v>
                </c:pt>
                <c:pt idx="3">
                  <c:v>1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81</c:v>
                </c:pt>
                <c:pt idx="3">
                  <c:v>7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51.2"/>
          <c:min val="6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1</c:v>
                </c:pt>
                <c:pt idx="2">
                  <c:v>98</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5</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94</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100</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9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4</c:v>
                </c:pt>
                <c:pt idx="2">
                  <c:v>125</c:v>
                </c:pt>
                <c:pt idx="3">
                  <c:v>10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3</c:v>
                </c:pt>
                <c:pt idx="2">
                  <c:v>254</c:v>
                </c:pt>
                <c:pt idx="3">
                  <c:v>24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8</c:v>
                </c:pt>
                <c:pt idx="3">
                  <c:v>10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68</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2</c:v>
                </c:pt>
                <c:pt idx="3">
                  <c:v>1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8</c:v>
                </c:pt>
                <c:pt idx="2">
                  <c:v>123</c:v>
                </c:pt>
                <c:pt idx="3">
                  <c:v>1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4.8"/>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23</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14</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9</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2</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96</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59</c:v>
                </c:pt>
                <c:pt idx="2">
                  <c:v>23</c:v>
                </c:pt>
                <c:pt idx="3">
                  <c:v>2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1</c:v>
                </c:pt>
                <c:pt idx="3">
                  <c:v>11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5</c:v>
                </c:pt>
                <c:pt idx="2">
                  <c:v>121</c:v>
                </c:pt>
                <c:pt idx="3">
                  <c:v>1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103</c:v>
                </c:pt>
                <c:pt idx="3">
                  <c:v>10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8.0"/>
          <c:min val="18.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4</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15</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26</c:v>
                </c:pt>
                <c:pt idx="3">
                  <c:v>12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1</c:v>
                </c:pt>
                <c:pt idx="3">
                  <c:v>1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0</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78</c:v>
                </c:pt>
                <c:pt idx="3">
                  <c:v>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36</c:v>
                </c:pt>
                <c:pt idx="3">
                  <c:v>12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7</c:v>
                </c:pt>
                <c:pt idx="3">
                  <c:v>11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99</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83</c:v>
                </c:pt>
                <c:pt idx="3">
                  <c:v>8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3.2"/>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4</c:v>
                </c:pt>
                <c:pt idx="3">
                  <c:v>1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32</c:v>
                </c:pt>
                <c:pt idx="3">
                  <c:v>15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00</c:v>
                </c:pt>
                <c:pt idx="3">
                  <c:v>9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4</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103</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06</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4"/>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0,77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9,5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9,7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0771</c:v>
                </c:pt>
                <c:pt idx="1">
                  <c:v>250440</c:v>
                </c:pt>
                <c:pt idx="2">
                  <c:v>273983</c:v>
                </c:pt>
                <c:pt idx="3">
                  <c:v>258440</c:v>
                </c:pt>
                <c:pt idx="4">
                  <c:v>275419</c:v>
                </c:pt>
                <c:pt idx="5">
                  <c:v>274715</c:v>
                </c:pt>
                <c:pt idx="6">
                  <c:v>253928</c:v>
                </c:pt>
                <c:pt idx="7">
                  <c:v>253504</c:v>
                </c:pt>
                <c:pt idx="8">
                  <c:v>242374</c:v>
                </c:pt>
                <c:pt idx="9">
                  <c:v>290925</c:v>
                </c:pt>
                <c:pt idx="10">
                  <c:v>462119</c:v>
                </c:pt>
                <c:pt idx="11">
                  <c:v>421541</c:v>
                </c:pt>
                <c:pt idx="12">
                  <c:v>290730</c:v>
                </c:pt>
                <c:pt idx="13">
                  <c:v>299595</c:v>
                </c:pt>
                <c:pt idx="14">
                  <c:v>401777</c:v>
                </c:pt>
                <c:pt idx="15">
                  <c:v>298111</c:v>
                </c:pt>
                <c:pt idx="16">
                  <c:v>295481</c:v>
                </c:pt>
                <c:pt idx="17">
                  <c:v>286275</c:v>
                </c:pt>
                <c:pt idx="18">
                  <c:v>266672</c:v>
                </c:pt>
                <c:pt idx="19">
                  <c:v>577944</c:v>
                </c:pt>
                <c:pt idx="20">
                  <c:v>520441</c:v>
                </c:pt>
                <c:pt idx="21">
                  <c:v>334895</c:v>
                </c:pt>
                <c:pt idx="22">
                  <c:v>328553</c:v>
                </c:pt>
                <c:pt idx="23">
                  <c:v>343448</c:v>
                </c:pt>
                <c:pt idx="24">
                  <c:v>2997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c:v>
                </c:pt>
                <c:pt idx="1">
                  <c:v>1.73</c:v>
                </c:pt>
                <c:pt idx="2">
                  <c:v>1.8</c:v>
                </c:pt>
                <c:pt idx="3">
                  <c:v>1.59</c:v>
                </c:pt>
                <c:pt idx="4">
                  <c:v>1.68</c:v>
                </c:pt>
                <c:pt idx="5">
                  <c:v>1.56</c:v>
                </c:pt>
                <c:pt idx="6">
                  <c:v>1.6</c:v>
                </c:pt>
                <c:pt idx="7">
                  <c:v>1.72</c:v>
                </c:pt>
                <c:pt idx="8">
                  <c:v>1.83</c:v>
                </c:pt>
                <c:pt idx="9">
                  <c:v>1.76</c:v>
                </c:pt>
                <c:pt idx="10">
                  <c:v>1.69</c:v>
                </c:pt>
                <c:pt idx="11">
                  <c:v>1.72</c:v>
                </c:pt>
                <c:pt idx="12">
                  <c:v>1.82</c:v>
                </c:pt>
                <c:pt idx="13">
                  <c:v>1.77</c:v>
                </c:pt>
                <c:pt idx="14">
                  <c:v>1.67</c:v>
                </c:pt>
                <c:pt idx="15">
                  <c:v>1.49</c:v>
                </c:pt>
                <c:pt idx="16">
                  <c:v>1.71</c:v>
                </c:pt>
                <c:pt idx="17">
                  <c:v>1.75</c:v>
                </c:pt>
                <c:pt idx="18">
                  <c:v>1.76</c:v>
                </c:pt>
                <c:pt idx="19">
                  <c:v>1.71</c:v>
                </c:pt>
                <c:pt idx="20">
                  <c:v>1.74</c:v>
                </c:pt>
                <c:pt idx="21">
                  <c:v>1.74</c:v>
                </c:pt>
                <c:pt idx="22">
                  <c:v>1.72</c:v>
                </c:pt>
                <c:pt idx="23">
                  <c:v>1.74</c:v>
                </c:pt>
                <c:pt idx="24">
                  <c:v>1.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0</c:v>
                </c:pt>
                <c:pt idx="2">
                  <c:v>142</c:v>
                </c:pt>
                <c:pt idx="3">
                  <c:v>15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0.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5</c:v>
                </c:pt>
                <c:pt idx="2">
                  <c:v>89</c:v>
                </c:pt>
                <c:pt idx="3">
                  <c:v>8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0</c:v>
                </c:pt>
                <c:pt idx="3">
                  <c:v>8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0</c:v>
                </c:pt>
                <c:pt idx="2">
                  <c:v>63</c:v>
                </c:pt>
                <c:pt idx="3">
                  <c:v>2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8</c:v>
                </c:pt>
                <c:pt idx="2">
                  <c:v>140</c:v>
                </c:pt>
                <c:pt idx="3">
                  <c:v>16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9</c:v>
                </c:pt>
                <c:pt idx="2">
                  <c:v>23</c:v>
                </c:pt>
                <c:pt idx="3">
                  <c:v>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3.2"/>
          <c:min val="16.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7</c:v>
                </c:pt>
                <c:pt idx="2">
                  <c:v>139</c:v>
                </c:pt>
                <c:pt idx="3">
                  <c:v>1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9</c:v>
                </c:pt>
                <c:pt idx="2">
                  <c:v>87</c:v>
                </c:pt>
                <c:pt idx="3">
                  <c:v>10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3</c:v>
                </c:pt>
                <c:pt idx="2">
                  <c:v>126</c:v>
                </c:pt>
                <c:pt idx="3">
                  <c:v>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19</c:v>
                </c:pt>
                <c:pt idx="3">
                  <c:v>12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5.6"/>
          <c:min val="31.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7</c:v>
                </c:pt>
                <c:pt idx="2">
                  <c:v>179</c:v>
                </c:pt>
                <c:pt idx="3">
                  <c:v>9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Universal Razor Ind</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8</c:v>
                </c:pt>
                <c:pt idx="2">
                  <c:v>16</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4.79999999999998"/>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63</c:v>
                </c:pt>
                <c:pt idx="2">
                  <c:v>49</c:v>
                </c:pt>
                <c:pt idx="3">
                  <c:v>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73</c:v>
                </c:pt>
                <c:pt idx="3">
                  <c:v>8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Universal Razor Ind</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2</c:v>
                </c:pt>
                <c:pt idx="2">
                  <c:v>70</c:v>
                </c:pt>
                <c:pt idx="3">
                  <c:v>6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2</c:v>
                </c:pt>
                <c:pt idx="3">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3</c:v>
                </c:pt>
                <c:pt idx="2">
                  <c:v>67</c:v>
                </c:pt>
                <c:pt idx="3">
                  <c:v>4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5</c:v>
                </c:pt>
                <c:pt idx="2">
                  <c:v>11</c:v>
                </c:pt>
                <c:pt idx="3">
                  <c:v>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5</c:v>
                </c:pt>
                <c:pt idx="3">
                  <c:v>1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35</c:v>
                </c:pt>
                <c:pt idx="2">
                  <c:v>759</c:v>
                </c:pt>
                <c:pt idx="3">
                  <c:v>6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10.8"/>
          <c:min val="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13</c:v>
                </c:pt>
                <c:pt idx="3">
                  <c:v>12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05</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90</c:v>
                </c:pt>
                <c:pt idx="3">
                  <c:v>9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45</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118</c:v>
                </c:pt>
                <c:pt idx="3">
                  <c:v>12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3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3</c:v>
                </c:pt>
                <c:pt idx="2">
                  <c:v>110</c:v>
                </c:pt>
                <c:pt idx="3">
                  <c:v>9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91</c:v>
                </c:pt>
                <c:pt idx="2">
                  <c:v>217</c:v>
                </c:pt>
                <c:pt idx="3">
                  <c:v>43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55</c:v>
                </c:pt>
                <c:pt idx="2">
                  <c:v>141</c:v>
                </c:pt>
                <c:pt idx="3">
                  <c:v>4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98</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520.8"/>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6</c:v>
                </c:pt>
                <c:pt idx="2">
                  <c:v>110</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10</c:v>
                </c:pt>
                <c:pt idx="3">
                  <c:v>11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78</c:v>
                </c:pt>
                <c:pt idx="3">
                  <c:v>6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1</c:v>
                </c:pt>
                <c:pt idx="2">
                  <c:v>183</c:v>
                </c:pt>
                <c:pt idx="3">
                  <c:v>1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92</c:v>
                </c:pt>
                <c:pt idx="3">
                  <c:v>9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8</c:v>
                </c:pt>
                <c:pt idx="3">
                  <c:v>11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92</c:v>
                </c:pt>
                <c:pt idx="2">
                  <c:v>402</c:v>
                </c:pt>
                <c:pt idx="3">
                  <c:v>54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81</c:v>
                </c:pt>
                <c:pt idx="3">
                  <c:v>7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52.8"/>
          <c:min val="6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9</c:v>
                </c:pt>
                <c:pt idx="3">
                  <c:v>8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92</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79</c:v>
                </c:pt>
                <c:pt idx="3">
                  <c:v>6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10</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50</c:v>
                </c:pt>
                <c:pt idx="2">
                  <c:v>43</c:v>
                </c:pt>
                <c:pt idx="3">
                  <c:v>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0</c:v>
                </c:pt>
                <c:pt idx="2">
                  <c:v>139</c:v>
                </c:pt>
                <c:pt idx="3">
                  <c:v>1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102</c:v>
                </c:pt>
                <c:pt idx="3">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8.0"/>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0</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7</c:v>
                </c:pt>
                <c:pt idx="2">
                  <c:v>137</c:v>
                </c:pt>
                <c:pt idx="3">
                  <c:v>11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89</c:v>
                </c:pt>
                <c:pt idx="3">
                  <c:v>7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2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4.4"/>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 Design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8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 Design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02,5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36,8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2,0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02561</c:v>
                </c:pt>
                <c:pt idx="1">
                  <c:v>706038</c:v>
                </c:pt>
                <c:pt idx="2">
                  <c:v>1008345</c:v>
                </c:pt>
                <c:pt idx="3">
                  <c:v>948061</c:v>
                </c:pt>
                <c:pt idx="4">
                  <c:v>1118036</c:v>
                </c:pt>
                <c:pt idx="5">
                  <c:v>624787</c:v>
                </c:pt>
                <c:pt idx="6">
                  <c:v>687755</c:v>
                </c:pt>
                <c:pt idx="7">
                  <c:v>819593</c:v>
                </c:pt>
                <c:pt idx="8">
                  <c:v>692923</c:v>
                </c:pt>
                <c:pt idx="9">
                  <c:v>730730</c:v>
                </c:pt>
                <c:pt idx="10">
                  <c:v>625753</c:v>
                </c:pt>
                <c:pt idx="11">
                  <c:v>644098</c:v>
                </c:pt>
                <c:pt idx="12">
                  <c:v>722603</c:v>
                </c:pt>
                <c:pt idx="13">
                  <c:v>536823</c:v>
                </c:pt>
                <c:pt idx="14">
                  <c:v>852131</c:v>
                </c:pt>
                <c:pt idx="15">
                  <c:v>916935</c:v>
                </c:pt>
                <c:pt idx="16">
                  <c:v>921677</c:v>
                </c:pt>
                <c:pt idx="17">
                  <c:v>348378</c:v>
                </c:pt>
                <c:pt idx="18">
                  <c:v>336596</c:v>
                </c:pt>
                <c:pt idx="19">
                  <c:v>343304</c:v>
                </c:pt>
                <c:pt idx="20">
                  <c:v>403838</c:v>
                </c:pt>
                <c:pt idx="21">
                  <c:v>371199</c:v>
                </c:pt>
                <c:pt idx="22">
                  <c:v>345639</c:v>
                </c:pt>
                <c:pt idx="23">
                  <c:v>338690</c:v>
                </c:pt>
                <c:pt idx="24">
                  <c:v>3420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4</c:v>
                </c:pt>
                <c:pt idx="1">
                  <c:v>1.54</c:v>
                </c:pt>
                <c:pt idx="2">
                  <c:v>1.24</c:v>
                </c:pt>
                <c:pt idx="3">
                  <c:v>1.21</c:v>
                </c:pt>
                <c:pt idx="4">
                  <c:v>1.11</c:v>
                </c:pt>
                <c:pt idx="5">
                  <c:v>1.41</c:v>
                </c:pt>
                <c:pt idx="6">
                  <c:v>1.2</c:v>
                </c:pt>
                <c:pt idx="7">
                  <c:v>1.01</c:v>
                </c:pt>
                <c:pt idx="8">
                  <c:v>1.58</c:v>
                </c:pt>
                <c:pt idx="9">
                  <c:v>1.5</c:v>
                </c:pt>
                <c:pt idx="10">
                  <c:v>1.7</c:v>
                </c:pt>
                <c:pt idx="11">
                  <c:v>1.78</c:v>
                </c:pt>
                <c:pt idx="12">
                  <c:v>1.75</c:v>
                </c:pt>
                <c:pt idx="13">
                  <c:v>1.78</c:v>
                </c:pt>
                <c:pt idx="14">
                  <c:v>1.31</c:v>
                </c:pt>
                <c:pt idx="15">
                  <c:v>1.22</c:v>
                </c:pt>
                <c:pt idx="16">
                  <c:v>1.13</c:v>
                </c:pt>
                <c:pt idx="17">
                  <c:v>1.4</c:v>
                </c:pt>
                <c:pt idx="18">
                  <c:v>1.4</c:v>
                </c:pt>
                <c:pt idx="19">
                  <c:v>1.43</c:v>
                </c:pt>
                <c:pt idx="20">
                  <c:v>1.6</c:v>
                </c:pt>
                <c:pt idx="21">
                  <c:v>1.53</c:v>
                </c:pt>
                <c:pt idx="22">
                  <c:v>1.55</c:v>
                </c:pt>
                <c:pt idx="23">
                  <c:v>1.61</c:v>
                </c:pt>
                <c:pt idx="24">
                  <c:v>1.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5</c:v>
                </c:pt>
                <c:pt idx="2">
                  <c:v>150</c:v>
                </c:pt>
                <c:pt idx="3">
                  <c:v>10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52</c:v>
                </c:pt>
                <c:pt idx="2">
                  <c:v>14</c:v>
                </c:pt>
                <c:pt idx="3">
                  <c:v>3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1</c:v>
                </c:pt>
                <c:pt idx="2">
                  <c:v>1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2</c:v>
                </c:pt>
                <c:pt idx="3">
                  <c:v>10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0.0"/>
          <c:min val="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7</c:v>
                </c:pt>
                <c:pt idx="2">
                  <c:v>120</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129</c:v>
                </c:pt>
                <c:pt idx="3">
                  <c:v>13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0</c:v>
                </c:pt>
                <c:pt idx="2">
                  <c:v>200</c:v>
                </c:pt>
                <c:pt idx="3">
                  <c:v>15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2</c:v>
                </c:pt>
                <c:pt idx="2">
                  <c:v>5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0</c:v>
                </c:pt>
                <c:pt idx="3">
                  <c:v>9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40.0"/>
          <c:min val="4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35</c:v>
                </c:pt>
                <c:pt idx="2">
                  <c:v>384</c:v>
                </c:pt>
                <c:pt idx="3">
                  <c:v>31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174</c:v>
                </c:pt>
                <c:pt idx="3">
                  <c:v>17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6</c:v>
                </c:pt>
                <c:pt idx="2">
                  <c:v>1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78</c:v>
                </c:pt>
                <c:pt idx="3">
                  <c:v>7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60.79999999999995"/>
          <c:min val="1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1</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9</c:v>
                </c:pt>
                <c:pt idx="3">
                  <c:v>8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7</c:v>
                </c:pt>
                <c:pt idx="2">
                  <c:v>4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15</c:v>
                </c:pt>
                <c:pt idx="3">
                  <c:v>11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3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82</c:v>
                </c:pt>
                <c:pt idx="2">
                  <c:v>1517</c:v>
                </c:pt>
                <c:pt idx="3">
                  <c:v>9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9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0.3999999999999"/>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617,8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630,9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705,9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617810</c:v>
                </c:pt>
                <c:pt idx="1">
                  <c:v>25116503</c:v>
                </c:pt>
                <c:pt idx="2">
                  <c:v>23516720</c:v>
                </c:pt>
                <c:pt idx="3">
                  <c:v>23424855</c:v>
                </c:pt>
                <c:pt idx="4">
                  <c:v>28027927</c:v>
                </c:pt>
                <c:pt idx="5">
                  <c:v>23058657</c:v>
                </c:pt>
                <c:pt idx="6">
                  <c:v>22873490</c:v>
                </c:pt>
                <c:pt idx="7">
                  <c:v>27801003</c:v>
                </c:pt>
                <c:pt idx="8">
                  <c:v>28150190</c:v>
                </c:pt>
                <c:pt idx="9">
                  <c:v>31311093</c:v>
                </c:pt>
                <c:pt idx="10">
                  <c:v>31889496</c:v>
                </c:pt>
                <c:pt idx="11">
                  <c:v>34433779</c:v>
                </c:pt>
                <c:pt idx="12">
                  <c:v>33708148</c:v>
                </c:pt>
                <c:pt idx="13">
                  <c:v>26630921</c:v>
                </c:pt>
                <c:pt idx="14">
                  <c:v>24394173</c:v>
                </c:pt>
                <c:pt idx="15">
                  <c:v>23829672</c:v>
                </c:pt>
                <c:pt idx="16">
                  <c:v>31309371</c:v>
                </c:pt>
                <c:pt idx="17">
                  <c:v>23151797</c:v>
                </c:pt>
                <c:pt idx="18">
                  <c:v>24538303</c:v>
                </c:pt>
                <c:pt idx="19">
                  <c:v>28699688</c:v>
                </c:pt>
                <c:pt idx="20">
                  <c:v>27749573</c:v>
                </c:pt>
                <c:pt idx="21">
                  <c:v>31503625</c:v>
                </c:pt>
                <c:pt idx="22">
                  <c:v>32603223</c:v>
                </c:pt>
                <c:pt idx="23">
                  <c:v>35260512</c:v>
                </c:pt>
                <c:pt idx="24">
                  <c:v>3470597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61</c:v>
                </c:pt>
                <c:pt idx="1">
                  <c:v>4.38</c:v>
                </c:pt>
                <c:pt idx="2">
                  <c:v>4.33</c:v>
                </c:pt>
                <c:pt idx="3">
                  <c:v>4.07</c:v>
                </c:pt>
                <c:pt idx="4">
                  <c:v>3.97</c:v>
                </c:pt>
                <c:pt idx="5">
                  <c:v>4.45</c:v>
                </c:pt>
                <c:pt idx="6">
                  <c:v>4.51</c:v>
                </c:pt>
                <c:pt idx="7">
                  <c:v>4.7</c:v>
                </c:pt>
                <c:pt idx="8">
                  <c:v>4.74</c:v>
                </c:pt>
                <c:pt idx="9">
                  <c:v>4.68</c:v>
                </c:pt>
                <c:pt idx="10">
                  <c:v>4.79</c:v>
                </c:pt>
                <c:pt idx="11">
                  <c:v>4.53</c:v>
                </c:pt>
                <c:pt idx="12">
                  <c:v>4.48</c:v>
                </c:pt>
                <c:pt idx="13">
                  <c:v>4.4</c:v>
                </c:pt>
                <c:pt idx="14">
                  <c:v>4.43</c:v>
                </c:pt>
                <c:pt idx="15">
                  <c:v>4.27</c:v>
                </c:pt>
                <c:pt idx="16">
                  <c:v>4.17</c:v>
                </c:pt>
                <c:pt idx="17">
                  <c:v>4.34</c:v>
                </c:pt>
                <c:pt idx="18">
                  <c:v>4.33</c:v>
                </c:pt>
                <c:pt idx="19">
                  <c:v>4.53</c:v>
                </c:pt>
                <c:pt idx="20">
                  <c:v>4.48</c:v>
                </c:pt>
                <c:pt idx="21">
                  <c:v>4.37</c:v>
                </c:pt>
                <c:pt idx="22">
                  <c:v>4.61</c:v>
                </c:pt>
                <c:pt idx="23">
                  <c:v>4.52</c:v>
                </c:pt>
                <c:pt idx="24">
                  <c:v>4.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4</c:v>
                </c:pt>
                <c:pt idx="2">
                  <c:v>36</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21773</c:v>
                </c:pt>
                <c:pt idx="2">
                  <c:v>997396</c:v>
                </c:pt>
                <c:pt idx="3">
                  <c:v>85892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7</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58</c:v>
                </c:pt>
                <c:pt idx="2">
                  <c:v>162</c:v>
                </c:pt>
                <c:pt idx="3">
                  <c:v>1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96875.2"/>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7</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2</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5</c:v>
                </c:pt>
                <c:pt idx="3">
                  <c:v>8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09</c:v>
                </c:pt>
                <c:pt idx="3">
                  <c:v>8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83</c:v>
                </c:pt>
                <c:pt idx="3">
                  <c:v>6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0</c:v>
                </c:pt>
                <c:pt idx="2">
                  <c:v>126</c:v>
                </c:pt>
                <c:pt idx="3">
                  <c:v>13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23</c:v>
                </c:pt>
                <c:pt idx="2">
                  <c:v>1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3.2"/>
          <c:min val="11.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2</c:v>
                </c:pt>
                <c:pt idx="3">
                  <c:v>11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1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3</c:v>
                </c:pt>
                <c:pt idx="3">
                  <c:v>12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78</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34</c:v>
                </c:pt>
                <c:pt idx="2">
                  <c:v>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13</c:v>
                </c:pt>
                <c:pt idx="3">
                  <c:v>10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2</c:v>
                </c:pt>
                <c:pt idx="2">
                  <c:v>31</c:v>
                </c:pt>
                <c:pt idx="3">
                  <c:v>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9</c:v>
                </c:pt>
                <c:pt idx="3">
                  <c:v>12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97</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69</c:v>
                </c:pt>
                <c:pt idx="2">
                  <c:v>1417</c:v>
                </c:pt>
                <c:pt idx="3">
                  <c:v>17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00.3999999999999"/>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2</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12</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7</c:v>
                </c:pt>
                <c:pt idx="2">
                  <c:v>138</c:v>
                </c:pt>
                <c:pt idx="3">
                  <c:v>5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21</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4</c:v>
                </c:pt>
                <c:pt idx="3">
                  <c:v>11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140</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48</c:v>
                </c:pt>
                <c:pt idx="3">
                  <c:v>15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87</c:v>
                </c:pt>
                <c:pt idx="3">
                  <c:v>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99</c:v>
                </c:pt>
                <c:pt idx="3">
                  <c:v>9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4.79999999999998"/>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33</c:v>
                </c:pt>
                <c:pt idx="3">
                  <c:v>1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6</c:v>
                </c:pt>
                <c:pt idx="2">
                  <c:v>179</c:v>
                </c:pt>
                <c:pt idx="3">
                  <c:v>16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41</c:v>
                </c:pt>
                <c:pt idx="3">
                  <c:v>15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6</c:v>
                </c:pt>
                <c:pt idx="2">
                  <c:v>91</c:v>
                </c:pt>
                <c:pt idx="3">
                  <c:v>9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4.79999999999998"/>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757,6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407,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783,3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757662</c:v>
                </c:pt>
                <c:pt idx="1">
                  <c:v>30078268</c:v>
                </c:pt>
                <c:pt idx="2">
                  <c:v>30082031</c:v>
                </c:pt>
                <c:pt idx="3">
                  <c:v>28633465</c:v>
                </c:pt>
                <c:pt idx="4">
                  <c:v>33961822</c:v>
                </c:pt>
                <c:pt idx="5">
                  <c:v>26632796</c:v>
                </c:pt>
                <c:pt idx="6">
                  <c:v>26105017</c:v>
                </c:pt>
                <c:pt idx="7">
                  <c:v>30565648</c:v>
                </c:pt>
                <c:pt idx="8">
                  <c:v>30217251</c:v>
                </c:pt>
                <c:pt idx="9">
                  <c:v>33437249</c:v>
                </c:pt>
                <c:pt idx="10">
                  <c:v>35092374</c:v>
                </c:pt>
                <c:pt idx="11">
                  <c:v>36544273</c:v>
                </c:pt>
                <c:pt idx="12">
                  <c:v>35257059</c:v>
                </c:pt>
                <c:pt idx="13">
                  <c:v>29407428</c:v>
                </c:pt>
                <c:pt idx="14">
                  <c:v>29377745</c:v>
                </c:pt>
                <c:pt idx="15">
                  <c:v>28665311</c:v>
                </c:pt>
                <c:pt idx="16">
                  <c:v>37483805</c:v>
                </c:pt>
                <c:pt idx="17">
                  <c:v>26404233</c:v>
                </c:pt>
                <c:pt idx="18">
                  <c:v>27424595</c:v>
                </c:pt>
                <c:pt idx="19">
                  <c:v>31145895</c:v>
                </c:pt>
                <c:pt idx="20">
                  <c:v>29906290</c:v>
                </c:pt>
                <c:pt idx="21">
                  <c:v>32972821</c:v>
                </c:pt>
                <c:pt idx="22">
                  <c:v>35619236</c:v>
                </c:pt>
                <c:pt idx="23">
                  <c:v>36154601</c:v>
                </c:pt>
                <c:pt idx="24">
                  <c:v>3478337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3</c:v>
                </c:pt>
                <c:pt idx="1">
                  <c:v>1.59</c:v>
                </c:pt>
                <c:pt idx="2">
                  <c:v>1.56</c:v>
                </c:pt>
                <c:pt idx="3">
                  <c:v>1.54</c:v>
                </c:pt>
                <c:pt idx="4">
                  <c:v>1.55</c:v>
                </c:pt>
                <c:pt idx="5">
                  <c:v>1.55</c:v>
                </c:pt>
                <c:pt idx="6">
                  <c:v>1.61</c:v>
                </c:pt>
                <c:pt idx="7">
                  <c:v>1.64</c:v>
                </c:pt>
                <c:pt idx="8">
                  <c:v>1.66</c:v>
                </c:pt>
                <c:pt idx="9">
                  <c:v>1.69</c:v>
                </c:pt>
                <c:pt idx="10">
                  <c:v>1.69</c:v>
                </c:pt>
                <c:pt idx="11">
                  <c:v>1.69</c:v>
                </c:pt>
                <c:pt idx="12">
                  <c:v>1.69</c:v>
                </c:pt>
                <c:pt idx="13">
                  <c:v>1.66</c:v>
                </c:pt>
                <c:pt idx="14">
                  <c:v>1.62</c:v>
                </c:pt>
                <c:pt idx="15">
                  <c:v>1.64</c:v>
                </c:pt>
                <c:pt idx="16">
                  <c:v>1.72</c:v>
                </c:pt>
                <c:pt idx="17">
                  <c:v>1.59</c:v>
                </c:pt>
                <c:pt idx="18">
                  <c:v>1.62</c:v>
                </c:pt>
                <c:pt idx="19">
                  <c:v>1.65</c:v>
                </c:pt>
                <c:pt idx="20">
                  <c:v>1.63</c:v>
                </c:pt>
                <c:pt idx="21">
                  <c:v>1.65</c:v>
                </c:pt>
                <c:pt idx="22">
                  <c:v>1.67</c:v>
                </c:pt>
                <c:pt idx="23">
                  <c:v>1.67</c:v>
                </c:pt>
                <c:pt idx="24">
                  <c:v>1.6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453,4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7,078,2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926,2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453413</c:v>
                </c:pt>
                <c:pt idx="1">
                  <c:v>26074342</c:v>
                </c:pt>
                <c:pt idx="2">
                  <c:v>25087296</c:v>
                </c:pt>
                <c:pt idx="3">
                  <c:v>22669428</c:v>
                </c:pt>
                <c:pt idx="4">
                  <c:v>25426389</c:v>
                </c:pt>
                <c:pt idx="5">
                  <c:v>24747401</c:v>
                </c:pt>
                <c:pt idx="6">
                  <c:v>22965212</c:v>
                </c:pt>
                <c:pt idx="7">
                  <c:v>26427181</c:v>
                </c:pt>
                <c:pt idx="8">
                  <c:v>26120960</c:v>
                </c:pt>
                <c:pt idx="9">
                  <c:v>28805355</c:v>
                </c:pt>
                <c:pt idx="10">
                  <c:v>30235324</c:v>
                </c:pt>
                <c:pt idx="11">
                  <c:v>32320133</c:v>
                </c:pt>
                <c:pt idx="12">
                  <c:v>31990326</c:v>
                </c:pt>
                <c:pt idx="13">
                  <c:v>27078234</c:v>
                </c:pt>
                <c:pt idx="14">
                  <c:v>26049214</c:v>
                </c:pt>
                <c:pt idx="15">
                  <c:v>23974464</c:v>
                </c:pt>
                <c:pt idx="16">
                  <c:v>26806588</c:v>
                </c:pt>
                <c:pt idx="17">
                  <c:v>24999436</c:v>
                </c:pt>
                <c:pt idx="18">
                  <c:v>24339323</c:v>
                </c:pt>
                <c:pt idx="19">
                  <c:v>27733064</c:v>
                </c:pt>
                <c:pt idx="20">
                  <c:v>26506760</c:v>
                </c:pt>
                <c:pt idx="21">
                  <c:v>29859039</c:v>
                </c:pt>
                <c:pt idx="22">
                  <c:v>31710704</c:v>
                </c:pt>
                <c:pt idx="23">
                  <c:v>33155432</c:v>
                </c:pt>
                <c:pt idx="24">
                  <c:v>329262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8</c:v>
                </c:pt>
                <c:pt idx="1">
                  <c:v>3.4</c:v>
                </c:pt>
                <c:pt idx="2">
                  <c:v>3.42</c:v>
                </c:pt>
                <c:pt idx="3">
                  <c:v>3.41</c:v>
                </c:pt>
                <c:pt idx="4">
                  <c:v>3.4</c:v>
                </c:pt>
                <c:pt idx="5">
                  <c:v>3.36</c:v>
                </c:pt>
                <c:pt idx="6">
                  <c:v>3.35</c:v>
                </c:pt>
                <c:pt idx="7">
                  <c:v>3.33</c:v>
                </c:pt>
                <c:pt idx="8">
                  <c:v>3.36</c:v>
                </c:pt>
                <c:pt idx="9">
                  <c:v>3.35</c:v>
                </c:pt>
                <c:pt idx="10">
                  <c:v>3.36</c:v>
                </c:pt>
                <c:pt idx="11">
                  <c:v>3.33</c:v>
                </c:pt>
                <c:pt idx="12">
                  <c:v>3.29</c:v>
                </c:pt>
                <c:pt idx="13">
                  <c:v>3.28</c:v>
                </c:pt>
                <c:pt idx="14">
                  <c:v>3.25</c:v>
                </c:pt>
                <c:pt idx="15">
                  <c:v>3.24</c:v>
                </c:pt>
                <c:pt idx="16">
                  <c:v>3.2</c:v>
                </c:pt>
                <c:pt idx="17">
                  <c:v>3.17</c:v>
                </c:pt>
                <c:pt idx="18">
                  <c:v>3.16</c:v>
                </c:pt>
                <c:pt idx="19">
                  <c:v>3.13</c:v>
                </c:pt>
                <c:pt idx="20">
                  <c:v>3.13</c:v>
                </c:pt>
                <c:pt idx="21">
                  <c:v>3.15</c:v>
                </c:pt>
                <c:pt idx="22">
                  <c:v>3.17</c:v>
                </c:pt>
                <c:pt idx="23">
                  <c:v>3.12</c:v>
                </c:pt>
                <c:pt idx="24">
                  <c:v>3.1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34</c:v>
                </c:pt>
                <c:pt idx="2">
                  <c:v>468</c:v>
                </c:pt>
                <c:pt idx="3">
                  <c:v>468</c:v>
                </c:pt>
              </c:numCache>
            </c:numRef>
          </c:val>
          <c:smooth val="0"/>
          <c:extLst>
            <c:ext xmlns:c16="http://schemas.microsoft.com/office/drawing/2014/chart" uri="{C3380CC4-5D6E-409C-BE32-E72D297353CC}">
              <c16:uniqueId val="{00000001-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56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65</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97</c:v>
                </c:pt>
                <c:pt idx="3">
                  <c:v>8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73</c:v>
                </c:pt>
                <c:pt idx="3">
                  <c:v>8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5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03</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7</c:v>
                </c:pt>
                <c:pt idx="2">
                  <c:v>327</c:v>
                </c:pt>
                <c:pt idx="3">
                  <c:v>172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9</c:v>
                </c:pt>
                <c:pt idx="3">
                  <c:v>10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70.0"/>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110</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7</c:v>
                </c:pt>
                <c:pt idx="2">
                  <c:v>69</c:v>
                </c:pt>
                <c:pt idx="3">
                  <c:v>8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5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7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5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9,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709</c:v>
                </c:pt>
                <c:pt idx="1">
                  <c:v>47150</c:v>
                </c:pt>
                <c:pt idx="2">
                  <c:v>27491</c:v>
                </c:pt>
                <c:pt idx="3">
                  <c:v>28107</c:v>
                </c:pt>
                <c:pt idx="4">
                  <c:v>30199</c:v>
                </c:pt>
                <c:pt idx="5">
                  <c:v>38185</c:v>
                </c:pt>
                <c:pt idx="6">
                  <c:v>57598</c:v>
                </c:pt>
                <c:pt idx="7">
                  <c:v>47794</c:v>
                </c:pt>
                <c:pt idx="8">
                  <c:v>61090</c:v>
                </c:pt>
                <c:pt idx="9">
                  <c:v>122947</c:v>
                </c:pt>
                <c:pt idx="10">
                  <c:v>40223</c:v>
                </c:pt>
                <c:pt idx="11">
                  <c:v>49339</c:v>
                </c:pt>
                <c:pt idx="12">
                  <c:v>28328</c:v>
                </c:pt>
                <c:pt idx="13">
                  <c:v>24576</c:v>
                </c:pt>
                <c:pt idx="14">
                  <c:v>25462</c:v>
                </c:pt>
                <c:pt idx="15">
                  <c:v>23893</c:v>
                </c:pt>
                <c:pt idx="16">
                  <c:v>24284</c:v>
                </c:pt>
                <c:pt idx="17">
                  <c:v>39677</c:v>
                </c:pt>
                <c:pt idx="18">
                  <c:v>24226</c:v>
                </c:pt>
                <c:pt idx="19">
                  <c:v>27252</c:v>
                </c:pt>
                <c:pt idx="20">
                  <c:v>28888</c:v>
                </c:pt>
                <c:pt idx="21">
                  <c:v>30108</c:v>
                </c:pt>
                <c:pt idx="22">
                  <c:v>34577</c:v>
                </c:pt>
                <c:pt idx="23">
                  <c:v>33419</c:v>
                </c:pt>
                <c:pt idx="24">
                  <c:v>692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8</c:v>
                </c:pt>
                <c:pt idx="1">
                  <c:v>1.53</c:v>
                </c:pt>
                <c:pt idx="2">
                  <c:v>1.78</c:v>
                </c:pt>
                <c:pt idx="3">
                  <c:v>1.66</c:v>
                </c:pt>
                <c:pt idx="4">
                  <c:v>1.53</c:v>
                </c:pt>
                <c:pt idx="5">
                  <c:v>1.77</c:v>
                </c:pt>
                <c:pt idx="6">
                  <c:v>1.73</c:v>
                </c:pt>
                <c:pt idx="7">
                  <c:v>1.31</c:v>
                </c:pt>
                <c:pt idx="8">
                  <c:v>1.26</c:v>
                </c:pt>
                <c:pt idx="9">
                  <c:v>1.61</c:v>
                </c:pt>
                <c:pt idx="10">
                  <c:v>1.66</c:v>
                </c:pt>
                <c:pt idx="11">
                  <c:v>1.65</c:v>
                </c:pt>
                <c:pt idx="12">
                  <c:v>1.94</c:v>
                </c:pt>
                <c:pt idx="13">
                  <c:v>2.03</c:v>
                </c:pt>
                <c:pt idx="14">
                  <c:v>2.18</c:v>
                </c:pt>
                <c:pt idx="15">
                  <c:v>2.13</c:v>
                </c:pt>
                <c:pt idx="16">
                  <c:v>2.0</c:v>
                </c:pt>
                <c:pt idx="17">
                  <c:v>1.86</c:v>
                </c:pt>
                <c:pt idx="18">
                  <c:v>1.91</c:v>
                </c:pt>
                <c:pt idx="19">
                  <c:v>2.02</c:v>
                </c:pt>
                <c:pt idx="20">
                  <c:v>1.94</c:v>
                </c:pt>
                <c:pt idx="21">
                  <c:v>1.9</c:v>
                </c:pt>
                <c:pt idx="22">
                  <c:v>1.9</c:v>
                </c:pt>
                <c:pt idx="23">
                  <c:v>1.92</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7</c:v>
                </c:pt>
                <c:pt idx="2">
                  <c:v>1530</c:v>
                </c:pt>
                <c:pt idx="3">
                  <c:v>13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99</c:v>
                </c:pt>
                <c:pt idx="3">
                  <c:v>25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4</c:v>
                </c:pt>
                <c:pt idx="3">
                  <c:v>9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92.4"/>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1</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15</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8</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8</c:v>
                </c:pt>
                <c:pt idx="2">
                  <c:v>186</c:v>
                </c:pt>
                <c:pt idx="3">
                  <c:v>1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20</c:v>
                </c:pt>
                <c:pt idx="3">
                  <c:v>16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1</c:v>
                </c:pt>
                <c:pt idx="3">
                  <c:v>13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78</c:v>
                </c:pt>
                <c:pt idx="3">
                  <c:v>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3.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3</c:v>
                </c:pt>
                <c:pt idx="2">
                  <c:v>83</c:v>
                </c:pt>
                <c:pt idx="3">
                  <c:v>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85</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75</c:v>
                </c:pt>
                <c:pt idx="3">
                  <c:v>6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6</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0.79999999999998"/>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8</c:v>
                </c:pt>
                <c:pt idx="2">
                  <c:v>8</c:v>
                </c:pt>
                <c:pt idx="3">
                  <c:v>2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7</c:v>
                </c:pt>
                <c:pt idx="2">
                  <c:v>132</c:v>
                </c:pt>
                <c:pt idx="3">
                  <c:v>12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8</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1</c:v>
                </c:pt>
                <c:pt idx="2">
                  <c:v>152</c:v>
                </c:pt>
                <c:pt idx="3">
                  <c:v>15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90</c:v>
                </c:pt>
                <c:pt idx="3">
                  <c:v>7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6.0"/>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 Design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8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 Design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28</c:v>
                </c:pt>
                <c:pt idx="3">
                  <c:v>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55</c:v>
                </c:pt>
                <c:pt idx="2">
                  <c:v>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84</c:v>
                </c:pt>
                <c:pt idx="2">
                  <c:v>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8</c:v>
                </c:pt>
                <c:pt idx="3">
                  <c:v>9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8.0"/>
          <c:min val="4.8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77</c:v>
                </c:pt>
                <c:pt idx="2">
                  <c:v>91</c:v>
                </c:pt>
                <c:pt idx="3">
                  <c:v>1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6</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65</c:v>
                </c:pt>
                <c:pt idx="2">
                  <c:v>13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8</c:v>
                </c:pt>
                <c:pt idx="2">
                  <c:v>5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90</c:v>
                </c:pt>
                <c:pt idx="3">
                  <c:v>12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8.0"/>
          <c:min val="4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81,5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36,6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87,2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81587</c:v>
                </c:pt>
                <c:pt idx="1">
                  <c:v>3132067</c:v>
                </c:pt>
                <c:pt idx="2">
                  <c:v>3271875</c:v>
                </c:pt>
                <c:pt idx="3">
                  <c:v>3180443</c:v>
                </c:pt>
                <c:pt idx="4">
                  <c:v>3512079</c:v>
                </c:pt>
                <c:pt idx="5">
                  <c:v>3613390</c:v>
                </c:pt>
                <c:pt idx="6">
                  <c:v>3328041</c:v>
                </c:pt>
                <c:pt idx="7">
                  <c:v>3553916</c:v>
                </c:pt>
                <c:pt idx="8">
                  <c:v>3418871</c:v>
                </c:pt>
                <c:pt idx="9">
                  <c:v>3715271</c:v>
                </c:pt>
                <c:pt idx="10">
                  <c:v>3728998</c:v>
                </c:pt>
                <c:pt idx="11">
                  <c:v>4765953</c:v>
                </c:pt>
                <c:pt idx="12">
                  <c:v>3889239</c:v>
                </c:pt>
                <c:pt idx="13">
                  <c:v>3336674</c:v>
                </c:pt>
                <c:pt idx="14">
                  <c:v>3392835</c:v>
                </c:pt>
                <c:pt idx="15">
                  <c:v>3366026</c:v>
                </c:pt>
                <c:pt idx="16">
                  <c:v>3196934</c:v>
                </c:pt>
                <c:pt idx="17">
                  <c:v>3201763</c:v>
                </c:pt>
                <c:pt idx="18">
                  <c:v>3287466</c:v>
                </c:pt>
                <c:pt idx="19">
                  <c:v>3775334</c:v>
                </c:pt>
                <c:pt idx="20">
                  <c:v>3978652</c:v>
                </c:pt>
                <c:pt idx="21">
                  <c:v>4325022</c:v>
                </c:pt>
                <c:pt idx="22">
                  <c:v>4345037</c:v>
                </c:pt>
                <c:pt idx="23">
                  <c:v>5101309</c:v>
                </c:pt>
                <c:pt idx="24">
                  <c:v>43872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c:v>
                </c:pt>
                <c:pt idx="1">
                  <c:v>2.96</c:v>
                </c:pt>
                <c:pt idx="2">
                  <c:v>2.83</c:v>
                </c:pt>
                <c:pt idx="3">
                  <c:v>2.91</c:v>
                </c:pt>
                <c:pt idx="4">
                  <c:v>3.26</c:v>
                </c:pt>
                <c:pt idx="5">
                  <c:v>3.24</c:v>
                </c:pt>
                <c:pt idx="6">
                  <c:v>3.23</c:v>
                </c:pt>
                <c:pt idx="7">
                  <c:v>3.14</c:v>
                </c:pt>
                <c:pt idx="8">
                  <c:v>3.16</c:v>
                </c:pt>
                <c:pt idx="9">
                  <c:v>3.05</c:v>
                </c:pt>
                <c:pt idx="10">
                  <c:v>3.11</c:v>
                </c:pt>
                <c:pt idx="11">
                  <c:v>2.78</c:v>
                </c:pt>
                <c:pt idx="12">
                  <c:v>2.94</c:v>
                </c:pt>
                <c:pt idx="13">
                  <c:v>2.93</c:v>
                </c:pt>
                <c:pt idx="14">
                  <c:v>2.83</c:v>
                </c:pt>
                <c:pt idx="15">
                  <c:v>2.81</c:v>
                </c:pt>
                <c:pt idx="16">
                  <c:v>3.01</c:v>
                </c:pt>
                <c:pt idx="17">
                  <c:v>2.74</c:v>
                </c:pt>
                <c:pt idx="18">
                  <c:v>2.95</c:v>
                </c:pt>
                <c:pt idx="19">
                  <c:v>3.23</c:v>
                </c:pt>
                <c:pt idx="20">
                  <c:v>3.15</c:v>
                </c:pt>
                <c:pt idx="21">
                  <c:v>3.08</c:v>
                </c:pt>
                <c:pt idx="22">
                  <c:v>3.29</c:v>
                </c:pt>
                <c:pt idx="23">
                  <c:v>3.11</c:v>
                </c:pt>
                <c:pt idx="24">
                  <c:v>3.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0</c:v>
                </c:pt>
                <c:pt idx="2">
                  <c:v>1767</c:v>
                </c:pt>
                <c:pt idx="3">
                  <c:v>254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55.2"/>
          <c:min val="4.8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5</c:v>
                </c:pt>
                <c:pt idx="2">
                  <c:v>116</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c:v>
                </c:pt>
                <c:pt idx="2">
                  <c:v>86</c:v>
                </c:pt>
                <c:pt idx="3">
                  <c:v>8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16</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35</c:v>
                </c:pt>
                <c:pt idx="2">
                  <c:v>384</c:v>
                </c:pt>
                <c:pt idx="3">
                  <c:v>31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174</c:v>
                </c:pt>
                <c:pt idx="3">
                  <c:v>17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6</c:v>
                </c:pt>
                <c:pt idx="2">
                  <c:v>1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78</c:v>
                </c:pt>
                <c:pt idx="3">
                  <c:v>7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60.79999999999995"/>
          <c:min val="1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1</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9</c:v>
                </c:pt>
                <c:pt idx="3">
                  <c:v>8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7</c:v>
                </c:pt>
                <c:pt idx="2">
                  <c:v>4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15</c:v>
                </c:pt>
                <c:pt idx="3">
                  <c:v>11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3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82</c:v>
                </c:pt>
                <c:pt idx="2">
                  <c:v>1517</c:v>
                </c:pt>
                <c:pt idx="3">
                  <c:v>9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9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0.3999999999999"/>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73,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785,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975,5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273298</c:v>
                </c:pt>
                <c:pt idx="1">
                  <c:v>3166125</c:v>
                </c:pt>
                <c:pt idx="2">
                  <c:v>3221327</c:v>
                </c:pt>
                <c:pt idx="3">
                  <c:v>2982389</c:v>
                </c:pt>
                <c:pt idx="4">
                  <c:v>3060065</c:v>
                </c:pt>
                <c:pt idx="5">
                  <c:v>3330908</c:v>
                </c:pt>
                <c:pt idx="6">
                  <c:v>3165627</c:v>
                </c:pt>
                <c:pt idx="7">
                  <c:v>3356158</c:v>
                </c:pt>
                <c:pt idx="8">
                  <c:v>3373106</c:v>
                </c:pt>
                <c:pt idx="9">
                  <c:v>3624559</c:v>
                </c:pt>
                <c:pt idx="10">
                  <c:v>3911023</c:v>
                </c:pt>
                <c:pt idx="11">
                  <c:v>4480920</c:v>
                </c:pt>
                <c:pt idx="12">
                  <c:v>4050687</c:v>
                </c:pt>
                <c:pt idx="13">
                  <c:v>3785402</c:v>
                </c:pt>
                <c:pt idx="14">
                  <c:v>3797567</c:v>
                </c:pt>
                <c:pt idx="15">
                  <c:v>3670753</c:v>
                </c:pt>
                <c:pt idx="16">
                  <c:v>3623258</c:v>
                </c:pt>
                <c:pt idx="17">
                  <c:v>3818697</c:v>
                </c:pt>
                <c:pt idx="18">
                  <c:v>3830248</c:v>
                </c:pt>
                <c:pt idx="19">
                  <c:v>4305978</c:v>
                </c:pt>
                <c:pt idx="20">
                  <c:v>4300612</c:v>
                </c:pt>
                <c:pt idx="21">
                  <c:v>4681258</c:v>
                </c:pt>
                <c:pt idx="22">
                  <c:v>4825223</c:v>
                </c:pt>
                <c:pt idx="23">
                  <c:v>5760819</c:v>
                </c:pt>
                <c:pt idx="24">
                  <c:v>49755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8</c:v>
                </c:pt>
                <c:pt idx="1">
                  <c:v>3.4</c:v>
                </c:pt>
                <c:pt idx="2">
                  <c:v>3.49</c:v>
                </c:pt>
                <c:pt idx="3">
                  <c:v>3.55</c:v>
                </c:pt>
                <c:pt idx="4">
                  <c:v>3.48</c:v>
                </c:pt>
                <c:pt idx="5">
                  <c:v>3.54</c:v>
                </c:pt>
                <c:pt idx="6">
                  <c:v>3.39</c:v>
                </c:pt>
                <c:pt idx="7">
                  <c:v>3.24</c:v>
                </c:pt>
                <c:pt idx="8">
                  <c:v>3.19</c:v>
                </c:pt>
                <c:pt idx="9">
                  <c:v>3.14</c:v>
                </c:pt>
                <c:pt idx="10">
                  <c:v>3.13</c:v>
                </c:pt>
                <c:pt idx="11">
                  <c:v>3.06</c:v>
                </c:pt>
                <c:pt idx="12">
                  <c:v>2.98</c:v>
                </c:pt>
                <c:pt idx="13">
                  <c:v>2.92</c:v>
                </c:pt>
                <c:pt idx="14">
                  <c:v>2.92</c:v>
                </c:pt>
                <c:pt idx="15">
                  <c:v>2.93</c:v>
                </c:pt>
                <c:pt idx="16">
                  <c:v>2.79</c:v>
                </c:pt>
                <c:pt idx="17">
                  <c:v>2.78</c:v>
                </c:pt>
                <c:pt idx="18">
                  <c:v>2.73</c:v>
                </c:pt>
                <c:pt idx="19">
                  <c:v>2.71</c:v>
                </c:pt>
                <c:pt idx="20">
                  <c:v>2.71</c:v>
                </c:pt>
                <c:pt idx="21">
                  <c:v>2.71</c:v>
                </c:pt>
                <c:pt idx="22">
                  <c:v>2.72</c:v>
                </c:pt>
                <c:pt idx="23">
                  <c:v>2.63</c:v>
                </c:pt>
                <c:pt idx="24">
                  <c:v>2.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0</c:v>
                </c:pt>
                <c:pt idx="3">
                  <c:v>7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08</c:v>
                </c:pt>
                <c:pt idx="3">
                  <c:v>8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9</c:v>
                </c:pt>
                <c:pt idx="3">
                  <c:v>7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4</c:v>
                </c:pt>
                <c:pt idx="2">
                  <c:v>138</c:v>
                </c:pt>
                <c:pt idx="3">
                  <c:v>14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7.6"/>
          <c:min val="5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5</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7</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4</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90</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7.2"/>
          <c:min val="6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3</c:v>
                </c:pt>
                <c:pt idx="2">
                  <c:v>112</c:v>
                </c:pt>
                <c:pt idx="3">
                  <c:v>9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26</c:v>
                </c:pt>
                <c:pt idx="3">
                  <c:v>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2</c:v>
                </c:pt>
                <c:pt idx="3">
                  <c:v>12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97</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4.79999999999998"/>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13</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40</c:v>
                </c:pt>
                <c:pt idx="3">
                  <c:v>6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20</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11</c:v>
                </c:pt>
                <c:pt idx="3">
                  <c:v>11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48.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157</c:v>
                </c:pt>
                <c:pt idx="3">
                  <c:v>15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85</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8</c:v>
                </c:pt>
                <c:pt idx="2">
                  <c:v>122</c:v>
                </c:pt>
                <c:pt idx="3">
                  <c:v>11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0.79999999999998"/>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5</c:v>
                </c:pt>
                <c:pt idx="2">
                  <c:v>134</c:v>
                </c:pt>
                <c:pt idx="3">
                  <c:v>1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6</c:v>
                </c:pt>
                <c:pt idx="2">
                  <c:v>180</c:v>
                </c:pt>
                <c:pt idx="3">
                  <c:v>16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7</c:v>
                </c:pt>
                <c:pt idx="2">
                  <c:v>144</c:v>
                </c:pt>
                <c:pt idx="3">
                  <c:v>15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01</c:v>
                </c:pt>
                <c:pt idx="3">
                  <c:v>10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6.0"/>
          <c:min val="7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4</c:v>
                </c:pt>
                <c:pt idx="2">
                  <c:v>85</c:v>
                </c:pt>
                <c:pt idx="3">
                  <c:v>6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4</c:v>
                </c:pt>
                <c:pt idx="2">
                  <c:v>130</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14</c:v>
                </c:pt>
                <c:pt idx="3">
                  <c:v>13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2</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0.79999999999998"/>
          <c:min val="5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0</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2</c:v>
                </c:pt>
                <c:pt idx="2">
                  <c:v>139</c:v>
                </c:pt>
                <c:pt idx="3">
                  <c:v>17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2</c:v>
                </c:pt>
                <c:pt idx="3">
                  <c:v>9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5</c:v>
                </c:pt>
                <c:pt idx="3">
                  <c:v>10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7.6"/>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6</c:v>
                </c:pt>
                <c:pt idx="2">
                  <c:v>48</c:v>
                </c:pt>
                <c:pt idx="3">
                  <c:v>4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57</c:v>
                </c:pt>
                <c:pt idx="3">
                  <c:v>5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vlon Inc</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24</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c:v>
                </c:pt>
                <c:pt idx="2">
                  <c:v>23</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081</c:v>
                </c:pt>
                <c:pt idx="2">
                  <c:v>1956</c:v>
                </c:pt>
                <c:pt idx="3">
                  <c:v>20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vlon Inc</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7</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7,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B$2:$B$26</c:f>
              <c:numCache>
                <c:formatCode>General</c:formatCode>
                <c:ptCount val="25"/>
                <c:pt idx="0">
                  <c:v>37012</c:v>
                </c:pt>
                <c:pt idx="1">
                  <c:v>74227</c:v>
                </c:pt>
                <c:pt idx="2">
                  <c:v>43117</c:v>
                </c:pt>
                <c:pt idx="3">
                  <c:v>25119</c:v>
                </c:pt>
                <c:pt idx="4">
                  <c:v>21505</c:v>
                </c:pt>
                <c:pt idx="5">
                  <c:v>16671</c:v>
                </c:pt>
                <c:pt idx="6">
                  <c:v>23862</c:v>
                </c:pt>
                <c:pt idx="7">
                  <c:v>12269</c:v>
                </c:pt>
                <c:pt idx="8">
                  <c:v>16006</c:v>
                </c:pt>
                <c:pt idx="9">
                  <c:v>13388</c:v>
                </c:pt>
                <c:pt idx="10">
                  <c:v>10393</c:v>
                </c:pt>
                <c:pt idx="11">
                  <c:v>3030</c:v>
                </c:pt>
                <c:pt idx="12">
                  <c:v>672</c:v>
                </c:pt>
                <c:pt idx="13">
                  <c:v>265</c:v>
                </c:pt>
                <c:pt idx="14">
                  <c:v>266</c:v>
                </c:pt>
                <c:pt idx="15">
                  <c:v>131</c:v>
                </c:pt>
                <c:pt idx="16">
                  <c:v>55</c:v>
                </c:pt>
                <c:pt idx="17">
                  <c:v>36</c:v>
                </c:pt>
                <c:pt idx="18">
                  <c:v>43</c:v>
                </c:pt>
                <c:pt idx="19">
                  <c:v>35</c:v>
                </c:pt>
                <c:pt idx="20">
                  <c:v>35</c:v>
                </c:pt>
                <c:pt idx="21">
                  <c:v>22</c:v>
                </c:pt>
                <c:pt idx="22">
                  <c:v>12</c:v>
                </c:pt>
                <c:pt idx="23">
                  <c:v>0</c:v>
                </c:pt>
                <c:pt idx="24">
                  <c:v>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C$2:$C$26</c:f>
              <c:numCache>
                <c:formatCode>General</c:formatCode>
                <c:ptCount val="25"/>
                <c:pt idx="0">
                  <c:v>2.13</c:v>
                </c:pt>
                <c:pt idx="1">
                  <c:v>2.05</c:v>
                </c:pt>
                <c:pt idx="2">
                  <c:v>2.28</c:v>
                </c:pt>
                <c:pt idx="3">
                  <c:v>2.32</c:v>
                </c:pt>
                <c:pt idx="4">
                  <c:v>2.35</c:v>
                </c:pt>
                <c:pt idx="5">
                  <c:v>2.36</c:v>
                </c:pt>
                <c:pt idx="6">
                  <c:v>2.23</c:v>
                </c:pt>
                <c:pt idx="7">
                  <c:v>2.35</c:v>
                </c:pt>
                <c:pt idx="8">
                  <c:v>2.33</c:v>
                </c:pt>
                <c:pt idx="9">
                  <c:v>2.31</c:v>
                </c:pt>
                <c:pt idx="10">
                  <c:v>2.24</c:v>
                </c:pt>
                <c:pt idx="11">
                  <c:v>2.29</c:v>
                </c:pt>
                <c:pt idx="12">
                  <c:v>2.14</c:v>
                </c:pt>
                <c:pt idx="13">
                  <c:v>1.79</c:v>
                </c:pt>
                <c:pt idx="14">
                  <c:v>1.87</c:v>
                </c:pt>
                <c:pt idx="15">
                  <c:v>1.85</c:v>
                </c:pt>
                <c:pt idx="16">
                  <c:v>2.39</c:v>
                </c:pt>
                <c:pt idx="17">
                  <c:v>1.89</c:v>
                </c:pt>
                <c:pt idx="18">
                  <c:v>2.26</c:v>
                </c:pt>
                <c:pt idx="19">
                  <c:v>2.06</c:v>
                </c:pt>
                <c:pt idx="20">
                  <c:v>2.06</c:v>
                </c:pt>
                <c:pt idx="21">
                  <c:v>2.2</c:v>
                </c:pt>
                <c:pt idx="22">
                  <c:v>0.67</c:v>
                </c:pt>
                <c:pt idx="23">
                  <c:v>0.0</c:v>
                </c:pt>
                <c:pt idx="24">
                  <c:v>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72</c:v>
                </c:pt>
                <c:pt idx="3">
                  <c:v>6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8</c:v>
                </c:pt>
                <c:pt idx="2">
                  <c:v>66</c:v>
                </c:pt>
                <c:pt idx="3">
                  <c:v>5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8</c:v>
                </c:pt>
                <c:pt idx="2">
                  <c:v>265</c:v>
                </c:pt>
                <c:pt idx="3">
                  <c:v>28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5.59999999999997"/>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34</c:v>
                </c:pt>
                <c:pt idx="3">
                  <c:v>14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bg</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20</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142</c:v>
                </c:pt>
                <c:pt idx="3">
                  <c:v>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0.0"/>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70</c:v>
                </c:pt>
                <c:pt idx="3">
                  <c:v>1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82</c:v>
                </c:pt>
                <c:pt idx="3">
                  <c:v>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6</c:v>
                </c:pt>
                <c:pt idx="2">
                  <c:v>140</c:v>
                </c:pt>
                <c:pt idx="3">
                  <c:v>14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1.2"/>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7</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40</c:v>
                </c:pt>
                <c:pt idx="3">
                  <c:v>12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7</c:v>
                </c:pt>
                <c:pt idx="3">
                  <c:v>11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4</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0</c:v>
                </c:pt>
                <c:pt idx="2">
                  <c:v>68</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1</c:v>
                </c:pt>
                <c:pt idx="2">
                  <c:v>137</c:v>
                </c:pt>
                <c:pt idx="3">
                  <c:v>12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150</c:v>
                </c:pt>
                <c:pt idx="3">
                  <c:v>15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76</c:v>
                </c:pt>
                <c:pt idx="3">
                  <c:v>7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9.6"/>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01</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30</c:v>
                </c:pt>
                <c:pt idx="3">
                  <c:v>1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96</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0</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01</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5</c:v>
                </c:pt>
                <c:pt idx="2">
                  <c:v>34</c:v>
                </c:pt>
                <c:pt idx="3">
                  <c:v>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7413</c:v>
                </c:pt>
                <c:pt idx="2">
                  <c:v>984579</c:v>
                </c:pt>
                <c:pt idx="3">
                  <c:v>84061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3</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4</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7</c:v>
                </c:pt>
                <c:pt idx="3">
                  <c:v>1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81494.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26</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75,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69,4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57,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75731</c:v>
                </c:pt>
                <c:pt idx="1">
                  <c:v>1956377</c:v>
                </c:pt>
                <c:pt idx="2">
                  <c:v>1877820</c:v>
                </c:pt>
                <c:pt idx="3">
                  <c:v>1785862</c:v>
                </c:pt>
                <c:pt idx="4">
                  <c:v>2218461</c:v>
                </c:pt>
                <c:pt idx="5">
                  <c:v>1830323</c:v>
                </c:pt>
                <c:pt idx="6">
                  <c:v>1982282</c:v>
                </c:pt>
                <c:pt idx="7">
                  <c:v>3092193</c:v>
                </c:pt>
                <c:pt idx="8">
                  <c:v>2481281</c:v>
                </c:pt>
                <c:pt idx="9">
                  <c:v>3379661</c:v>
                </c:pt>
                <c:pt idx="10">
                  <c:v>3174981</c:v>
                </c:pt>
                <c:pt idx="11">
                  <c:v>2931797</c:v>
                </c:pt>
                <c:pt idx="12">
                  <c:v>2724852</c:v>
                </c:pt>
                <c:pt idx="13">
                  <c:v>2269409</c:v>
                </c:pt>
                <c:pt idx="14">
                  <c:v>1985029</c:v>
                </c:pt>
                <c:pt idx="15">
                  <c:v>1819241</c:v>
                </c:pt>
                <c:pt idx="16">
                  <c:v>2138406</c:v>
                </c:pt>
                <c:pt idx="17">
                  <c:v>1729885</c:v>
                </c:pt>
                <c:pt idx="18">
                  <c:v>1797903</c:v>
                </c:pt>
                <c:pt idx="19">
                  <c:v>2068839</c:v>
                </c:pt>
                <c:pt idx="20">
                  <c:v>2175393</c:v>
                </c:pt>
                <c:pt idx="21">
                  <c:v>2301775</c:v>
                </c:pt>
                <c:pt idx="22">
                  <c:v>2493337</c:v>
                </c:pt>
                <c:pt idx="23">
                  <c:v>2843229</c:v>
                </c:pt>
                <c:pt idx="24">
                  <c:v>26575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64</c:v>
                </c:pt>
                <c:pt idx="1">
                  <c:v>6.95</c:v>
                </c:pt>
                <c:pt idx="2">
                  <c:v>6.6</c:v>
                </c:pt>
                <c:pt idx="3">
                  <c:v>6.64</c:v>
                </c:pt>
                <c:pt idx="4">
                  <c:v>6.77</c:v>
                </c:pt>
                <c:pt idx="5">
                  <c:v>6.64</c:v>
                </c:pt>
                <c:pt idx="6">
                  <c:v>6.36</c:v>
                </c:pt>
                <c:pt idx="7">
                  <c:v>6.59</c:v>
                </c:pt>
                <c:pt idx="8">
                  <c:v>6.98</c:v>
                </c:pt>
                <c:pt idx="9">
                  <c:v>6.75</c:v>
                </c:pt>
                <c:pt idx="10">
                  <c:v>6.73</c:v>
                </c:pt>
                <c:pt idx="11">
                  <c:v>6.98</c:v>
                </c:pt>
                <c:pt idx="12">
                  <c:v>6.53</c:v>
                </c:pt>
                <c:pt idx="13">
                  <c:v>7.25</c:v>
                </c:pt>
                <c:pt idx="14">
                  <c:v>6.66</c:v>
                </c:pt>
                <c:pt idx="15">
                  <c:v>6.74</c:v>
                </c:pt>
                <c:pt idx="16">
                  <c:v>6.69</c:v>
                </c:pt>
                <c:pt idx="17">
                  <c:v>6.84</c:v>
                </c:pt>
                <c:pt idx="18">
                  <c:v>6.36</c:v>
                </c:pt>
                <c:pt idx="19">
                  <c:v>6.4</c:v>
                </c:pt>
                <c:pt idx="20">
                  <c:v>6.26</c:v>
                </c:pt>
                <c:pt idx="21">
                  <c:v>6.07</c:v>
                </c:pt>
                <c:pt idx="22">
                  <c:v>6.26</c:v>
                </c:pt>
                <c:pt idx="23">
                  <c:v>6.2</c:v>
                </c:pt>
                <c:pt idx="24">
                  <c:v>6.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7</c:v>
                </c:pt>
                <c:pt idx="3">
                  <c:v>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09</c:v>
                </c:pt>
                <c:pt idx="3">
                  <c:v>8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83</c:v>
                </c:pt>
                <c:pt idx="3">
                  <c:v>6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9</c:v>
                </c:pt>
                <c:pt idx="2">
                  <c:v>122</c:v>
                </c:pt>
                <c:pt idx="3">
                  <c:v>13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23</c:v>
                </c:pt>
                <c:pt idx="2">
                  <c:v>1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7.2"/>
          <c:min val="11.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1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2</c:v>
                </c:pt>
                <c:pt idx="3">
                  <c:v>12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75</c:v>
                </c:pt>
                <c:pt idx="3">
                  <c:v>7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34</c:v>
                </c:pt>
                <c:pt idx="2">
                  <c:v>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7</c:v>
                </c:pt>
                <c:pt idx="2">
                  <c:v>113</c:v>
                </c:pt>
                <c:pt idx="3">
                  <c:v>10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3</c:v>
                </c:pt>
                <c:pt idx="2">
                  <c:v>31</c:v>
                </c:pt>
                <c:pt idx="3">
                  <c:v>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9</c:v>
                </c:pt>
                <c:pt idx="3">
                  <c:v>12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97</c:v>
                </c:pt>
                <c:pt idx="3">
                  <c:v>9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47</c:v>
                </c:pt>
                <c:pt idx="2">
                  <c:v>1376</c:v>
                </c:pt>
                <c:pt idx="3">
                  <c:v>17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51.2"/>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2</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12</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8</c:v>
                </c:pt>
                <c:pt idx="2">
                  <c:v>138</c:v>
                </c:pt>
                <c:pt idx="3">
                  <c:v>5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21</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4</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142</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0.4"/>
          <c:min val="4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45</c:v>
                </c:pt>
                <c:pt idx="3">
                  <c:v>1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88</c:v>
                </c:pt>
                <c:pt idx="3">
                  <c:v>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95</c:v>
                </c:pt>
                <c:pt idx="3">
                  <c:v>9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2.4"/>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34</c:v>
                </c:pt>
                <c:pt idx="3">
                  <c:v>13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7</c:v>
                </c:pt>
                <c:pt idx="2">
                  <c:v>181</c:v>
                </c:pt>
                <c:pt idx="3">
                  <c:v>16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43</c:v>
                </c:pt>
                <c:pt idx="3">
                  <c:v>15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89</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7.2"/>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3</c:v>
                </c:pt>
                <c:pt idx="2">
                  <c:v>83</c:v>
                </c:pt>
                <c:pt idx="3">
                  <c:v>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8</c:v>
                </c:pt>
                <c:pt idx="2">
                  <c:v>148</c:v>
                </c:pt>
                <c:pt idx="3">
                  <c:v>12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99</c:v>
                </c:pt>
                <c:pt idx="3">
                  <c:v>11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79</c:v>
                </c:pt>
                <c:pt idx="3">
                  <c:v>8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7.6"/>
          <c:min val="48.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09</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38</c:v>
                </c:pt>
                <c:pt idx="3">
                  <c:v>17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97</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05</c:v>
                </c:pt>
                <c:pt idx="3">
                  <c:v>10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5</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2.4"/>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68</c:v>
                </c:pt>
                <c:pt idx="2">
                  <c:v>468</c:v>
                </c:pt>
                <c:pt idx="3">
                  <c:v>390</c:v>
                </c:pt>
              </c:numCache>
            </c:numRef>
          </c:val>
          <c:smooth val="0"/>
          <c:extLst>
            <c:ext xmlns:c16="http://schemas.microsoft.com/office/drawing/2014/chart" uri="{C3380CC4-5D6E-409C-BE32-E72D297353CC}">
              <c16:uniqueId val="{00000001-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56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583</c:v>
                </c:pt>
                <c:pt idx="2">
                  <c:v>1407</c:v>
                </c:pt>
                <c:pt idx="3">
                  <c:v>7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6</c:v>
                </c:pt>
                <c:pt idx="2">
                  <c:v>66</c:v>
                </c:pt>
                <c:pt idx="3">
                  <c:v>10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99.6"/>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9</c:v>
                </c:pt>
                <c:pt idx="2">
                  <c:v>28</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3</c:v>
                </c:pt>
                <c:pt idx="2">
                  <c:v>80</c:v>
                </c:pt>
                <c:pt idx="3">
                  <c:v>6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0</c:v>
                </c:pt>
                <c:pt idx="3">
                  <c:v>6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7</c:v>
                </c:pt>
                <c:pt idx="2">
                  <c:v>149</c:v>
                </c:pt>
                <c:pt idx="3">
                  <c:v>1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16</c:v>
                </c:pt>
                <c:pt idx="2">
                  <c:v>230</c:v>
                </c:pt>
                <c:pt idx="3">
                  <c:v>25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72</c:v>
                </c:pt>
                <c:pt idx="2">
                  <c:v>165</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72</c:v>
                </c:pt>
                <c:pt idx="3">
                  <c:v>6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2.4"/>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9</c:v>
                </c:pt>
                <c:pt idx="2">
                  <c:v>97</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109</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88</c:v>
                </c:pt>
                <c:pt idx="3">
                  <c:v>7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9</c:v>
                </c:pt>
                <c:pt idx="2">
                  <c:v>134</c:v>
                </c:pt>
                <c:pt idx="3">
                  <c:v>13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4.4"/>
          <c:min val="5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8</c:v>
                </c:pt>
                <c:pt idx="2">
                  <c:v>249</c:v>
                </c:pt>
                <c:pt idx="3">
                  <c:v>25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88</c:v>
                </c:pt>
                <c:pt idx="3">
                  <c:v>8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74</c:v>
                </c:pt>
                <c:pt idx="3">
                  <c:v>6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10.8"/>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94</c:v>
                </c:pt>
                <c:pt idx="3">
                  <c:v>9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15</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97</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5</c:v>
                </c:pt>
                <c:pt idx="2">
                  <c:v>137</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4.4"/>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57,0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9,2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57089</c:v>
                </c:pt>
                <c:pt idx="1">
                  <c:v>227139</c:v>
                </c:pt>
                <c:pt idx="2">
                  <c:v>599666</c:v>
                </c:pt>
                <c:pt idx="3">
                  <c:v>578918</c:v>
                </c:pt>
                <c:pt idx="4">
                  <c:v>623475</c:v>
                </c:pt>
                <c:pt idx="5">
                  <c:v>219473</c:v>
                </c:pt>
                <c:pt idx="6">
                  <c:v>222915</c:v>
                </c:pt>
                <c:pt idx="7">
                  <c:v>313188</c:v>
                </c:pt>
                <c:pt idx="8">
                  <c:v>393767</c:v>
                </c:pt>
                <c:pt idx="9">
                  <c:v>352197</c:v>
                </c:pt>
                <c:pt idx="10">
                  <c:v>311779</c:v>
                </c:pt>
                <c:pt idx="11">
                  <c:v>342018</c:v>
                </c:pt>
                <c:pt idx="12">
                  <c:v>415124</c:v>
                </c:pt>
                <c:pt idx="13">
                  <c:v>249206</c:v>
                </c:pt>
                <c:pt idx="14">
                  <c:v>626922</c:v>
                </c:pt>
                <c:pt idx="15">
                  <c:v>712675</c:v>
                </c:pt>
                <c:pt idx="16">
                  <c:v>731763</c:v>
                </c:pt>
                <c:pt idx="17">
                  <c:v>122662</c:v>
                </c:pt>
                <c:pt idx="18">
                  <c:v>86545</c:v>
                </c:pt>
                <c:pt idx="19">
                  <c:v>78469</c:v>
                </c:pt>
                <c:pt idx="20">
                  <c:v>187994</c:v>
                </c:pt>
                <c:pt idx="21">
                  <c:v>115217</c:v>
                </c:pt>
                <c:pt idx="22">
                  <c:v>96683</c:v>
                </c:pt>
                <c:pt idx="23">
                  <c:v>92944</c:v>
                </c:pt>
                <c:pt idx="24">
                  <c:v>7784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3</c:v>
                </c:pt>
                <c:pt idx="1">
                  <c:v>2.14</c:v>
                </c:pt>
                <c:pt idx="2">
                  <c:v>1.14</c:v>
                </c:pt>
                <c:pt idx="3">
                  <c:v>1.12</c:v>
                </c:pt>
                <c:pt idx="4">
                  <c:v>1.07</c:v>
                </c:pt>
                <c:pt idx="5">
                  <c:v>1.58</c:v>
                </c:pt>
                <c:pt idx="6">
                  <c:v>1.94</c:v>
                </c:pt>
                <c:pt idx="7">
                  <c:v>1.87</c:v>
                </c:pt>
                <c:pt idx="8">
                  <c:v>1.88</c:v>
                </c:pt>
                <c:pt idx="9">
                  <c:v>1.91</c:v>
                </c:pt>
                <c:pt idx="10">
                  <c:v>1.97</c:v>
                </c:pt>
                <c:pt idx="11">
                  <c:v>1.98</c:v>
                </c:pt>
                <c:pt idx="12">
                  <c:v>1.93</c:v>
                </c:pt>
                <c:pt idx="13">
                  <c:v>2.02</c:v>
                </c:pt>
                <c:pt idx="14">
                  <c:v>1.22</c:v>
                </c:pt>
                <c:pt idx="15">
                  <c:v>1.15</c:v>
                </c:pt>
                <c:pt idx="16">
                  <c:v>1.04</c:v>
                </c:pt>
                <c:pt idx="17">
                  <c:v>1.13</c:v>
                </c:pt>
                <c:pt idx="18">
                  <c:v>1.5</c:v>
                </c:pt>
                <c:pt idx="19">
                  <c:v>1.58</c:v>
                </c:pt>
                <c:pt idx="20">
                  <c:v>1.61</c:v>
                </c:pt>
                <c:pt idx="21">
                  <c:v>1.6</c:v>
                </c:pt>
                <c:pt idx="22">
                  <c:v>1.59</c:v>
                </c:pt>
                <c:pt idx="23">
                  <c:v>1.61</c:v>
                </c:pt>
                <c:pt idx="24">
                  <c:v>1.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79</c:v>
                </c:pt>
                <c:pt idx="2">
                  <c:v>260</c:v>
                </c:pt>
                <c:pt idx="3">
                  <c:v>15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70</c:v>
                </c:pt>
                <c:pt idx="3">
                  <c:v>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99</c:v>
                </c:pt>
                <c:pt idx="3">
                  <c:v>6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5</c:v>
                </c:pt>
                <c:pt idx="2">
                  <c:v>160</c:v>
                </c:pt>
                <c:pt idx="3">
                  <c:v>27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0</c:v>
                </c:pt>
                <c:pt idx="2">
                  <c:v>105</c:v>
                </c:pt>
                <c:pt idx="3">
                  <c:v>11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25.2"/>
          <c:min val="4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06</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4</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92</c:v>
                </c:pt>
                <c:pt idx="3">
                  <c:v>9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88</c:v>
                </c:pt>
                <c:pt idx="3">
                  <c:v>8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arry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4</c:v>
                </c:pt>
                <c:pt idx="2">
                  <c:v>140</c:v>
                </c:pt>
                <c:pt idx="3">
                  <c:v>13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c:v>
                </c:pt>
                <c:pt idx="2">
                  <c:v>357</c:v>
                </c:pt>
                <c:pt idx="3">
                  <c:v>3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28.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2</c:v>
                </c:pt>
                <c:pt idx="3">
                  <c:v>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2</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80</c:v>
                </c:pt>
                <c:pt idx="3">
                  <c:v>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271</c:v>
                </c:pt>
                <c:pt idx="3">
                  <c:v>258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0</c:v>
                </c:pt>
                <c:pt idx="2">
                  <c:v>97</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97.2"/>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4</c:v>
                </c:pt>
                <c:pt idx="3">
                  <c:v>14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0</c:v>
                </c:pt>
                <c:pt idx="2">
                  <c:v>134</c:v>
                </c:pt>
                <c:pt idx="3">
                  <c:v>10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34</c:v>
                </c:pt>
                <c:pt idx="3">
                  <c:v>13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Universal Razor Ind</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2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2.79999999999998"/>
          <c:min val="78.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3</c:f>
              <c:numCache>
                <c:formatCode>General</c:formatCode>
                <c:ptCount val="2"/>
                <c:pt idx="0">
                  <c:v>100</c:v>
                </c:pt>
                <c:pt idx="1">
                  <c:v>6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1</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3</c:f>
              <c:numCache>
                <c:formatCode>General</c:formatCode>
                <c:ptCount val="2"/>
                <c:pt idx="0">
                  <c:v>100</c:v>
                </c:pt>
                <c:pt idx="1">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08</c:v>
                </c:pt>
                <c:pt idx="3">
                  <c:v>10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8</c:v>
                </c:pt>
                <c:pt idx="3">
                  <c:v>11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6</c:v>
                </c:pt>
                <c:pt idx="2">
                  <c:v>189</c:v>
                </c:pt>
                <c:pt idx="3">
                  <c:v>17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94</c:v>
                </c:pt>
                <c:pt idx="3">
                  <c:v>9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2</c:v>
                </c:pt>
                <c:pt idx="3">
                  <c:v>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6.79999999999998"/>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2</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9</c:v>
                </c:pt>
                <c:pt idx="3">
                  <c:v>11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6</c:v>
                </c:pt>
                <c:pt idx="2">
                  <c:v>148</c:v>
                </c:pt>
                <c:pt idx="3">
                  <c:v>14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7</c:v>
                </c:pt>
                <c:pt idx="2">
                  <c:v>84</c:v>
                </c:pt>
                <c:pt idx="3">
                  <c:v>7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7</c:v>
                </c:pt>
                <c:pt idx="3">
                  <c:v>12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7.6"/>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107</c:v>
                </c:pt>
                <c:pt idx="3">
                  <c:v>9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97</c:v>
                </c:pt>
                <c:pt idx="3">
                  <c:v>10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9</c:v>
                </c:pt>
                <c:pt idx="2">
                  <c:v>62</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9</c:v>
                </c:pt>
                <c:pt idx="2">
                  <c:v>1712</c:v>
                </c:pt>
                <c:pt idx="3">
                  <c:v>129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9</c:v>
                </c:pt>
                <c:pt idx="2">
                  <c:v>110</c:v>
                </c:pt>
                <c:pt idx="3">
                  <c:v>1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54.4"/>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9</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3</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2</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19</c:v>
                </c:pt>
                <c:pt idx="2">
                  <c:v>327</c:v>
                </c:pt>
                <c:pt idx="3">
                  <c:v>40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2</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484.79999999999995"/>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93</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93</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3</c:v>
                </c:pt>
                <c:pt idx="2">
                  <c:v>193</c:v>
                </c:pt>
                <c:pt idx="3">
                  <c:v>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89</c:v>
                </c:pt>
                <c:pt idx="3">
                  <c:v>8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4</c:v>
                </c:pt>
                <c:pt idx="2">
                  <c:v>9</c:v>
                </c:pt>
                <c:pt idx="3">
                  <c:v>4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56</c:v>
                </c:pt>
                <c:pt idx="2">
                  <c:v>220</c:v>
                </c:pt>
                <c:pt idx="3">
                  <c:v>1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1</c:v>
                </c:pt>
                <c:pt idx="2">
                  <c:v>33</c:v>
                </c:pt>
                <c:pt idx="3">
                  <c:v>1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64.0"/>
          <c:min val="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8</c:v>
                </c:pt>
                <c:pt idx="2">
                  <c:v>94</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04</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80</c:v>
                </c:pt>
                <c:pt idx="3">
                  <c:v>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9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8</c:v>
                </c:pt>
                <c:pt idx="2">
                  <c:v>76</c:v>
                </c:pt>
                <c:pt idx="3">
                  <c:v>3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368,0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914,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123,5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368076</c:v>
                </c:pt>
                <c:pt idx="1">
                  <c:v>7996697</c:v>
                </c:pt>
                <c:pt idx="2">
                  <c:v>7859866</c:v>
                </c:pt>
                <c:pt idx="3">
                  <c:v>7057229</c:v>
                </c:pt>
                <c:pt idx="4">
                  <c:v>8033603</c:v>
                </c:pt>
                <c:pt idx="5">
                  <c:v>7355068</c:v>
                </c:pt>
                <c:pt idx="6">
                  <c:v>7032624</c:v>
                </c:pt>
                <c:pt idx="7">
                  <c:v>7999038</c:v>
                </c:pt>
                <c:pt idx="8">
                  <c:v>7727302</c:v>
                </c:pt>
                <c:pt idx="9">
                  <c:v>8641783</c:v>
                </c:pt>
                <c:pt idx="10">
                  <c:v>9069323</c:v>
                </c:pt>
                <c:pt idx="11">
                  <c:v>9549303</c:v>
                </c:pt>
                <c:pt idx="12">
                  <c:v>9441156</c:v>
                </c:pt>
                <c:pt idx="13">
                  <c:v>7914369</c:v>
                </c:pt>
                <c:pt idx="14">
                  <c:v>7639840</c:v>
                </c:pt>
                <c:pt idx="15">
                  <c:v>7076612</c:v>
                </c:pt>
                <c:pt idx="16">
                  <c:v>8142865</c:v>
                </c:pt>
                <c:pt idx="17">
                  <c:v>7162256</c:v>
                </c:pt>
                <c:pt idx="18">
                  <c:v>7236041</c:v>
                </c:pt>
                <c:pt idx="19">
                  <c:v>8056635</c:v>
                </c:pt>
                <c:pt idx="20">
                  <c:v>7652704</c:v>
                </c:pt>
                <c:pt idx="21">
                  <c:v>8560525</c:v>
                </c:pt>
                <c:pt idx="22">
                  <c:v>9090783</c:v>
                </c:pt>
                <c:pt idx="23">
                  <c:v>9257774</c:v>
                </c:pt>
                <c:pt idx="24">
                  <c:v>91235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2</c:v>
                </c:pt>
                <c:pt idx="1">
                  <c:v>3.12</c:v>
                </c:pt>
                <c:pt idx="2">
                  <c:v>3.13</c:v>
                </c:pt>
                <c:pt idx="3">
                  <c:v>3.14</c:v>
                </c:pt>
                <c:pt idx="4">
                  <c:v>3.14</c:v>
                </c:pt>
                <c:pt idx="5">
                  <c:v>3.02</c:v>
                </c:pt>
                <c:pt idx="6">
                  <c:v>3.03</c:v>
                </c:pt>
                <c:pt idx="7">
                  <c:v>3.06</c:v>
                </c:pt>
                <c:pt idx="8">
                  <c:v>3.09</c:v>
                </c:pt>
                <c:pt idx="9">
                  <c:v>3.11</c:v>
                </c:pt>
                <c:pt idx="10">
                  <c:v>3.09</c:v>
                </c:pt>
                <c:pt idx="11">
                  <c:v>3.07</c:v>
                </c:pt>
                <c:pt idx="12">
                  <c:v>3.05</c:v>
                </c:pt>
                <c:pt idx="13">
                  <c:v>3.06</c:v>
                </c:pt>
                <c:pt idx="14">
                  <c:v>3.05</c:v>
                </c:pt>
                <c:pt idx="15">
                  <c:v>3.04</c:v>
                </c:pt>
                <c:pt idx="16">
                  <c:v>3.03</c:v>
                </c:pt>
                <c:pt idx="17">
                  <c:v>2.95</c:v>
                </c:pt>
                <c:pt idx="18">
                  <c:v>3.0</c:v>
                </c:pt>
                <c:pt idx="19">
                  <c:v>3.01</c:v>
                </c:pt>
                <c:pt idx="20">
                  <c:v>3.02</c:v>
                </c:pt>
                <c:pt idx="21">
                  <c:v>3.01</c:v>
                </c:pt>
                <c:pt idx="22">
                  <c:v>3.01</c:v>
                </c:pt>
                <c:pt idx="23">
                  <c:v>3.01</c:v>
                </c:pt>
                <c:pt idx="24">
                  <c:v>3.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108</c:v>
                </c:pt>
                <c:pt idx="3">
                  <c:v>9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23</c:v>
                </c:pt>
                <c:pt idx="3">
                  <c:v>11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52</c:v>
                </c:pt>
                <c:pt idx="2">
                  <c:v>37</c:v>
                </c:pt>
                <c:pt idx="3">
                  <c:v>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14</c:v>
                </c:pt>
                <c:pt idx="2">
                  <c:v>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89</c:v>
                </c:pt>
                <c:pt idx="3">
                  <c:v>9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7.6"/>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6</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99</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7</c:v>
                </c:pt>
                <c:pt idx="3">
                  <c:v>10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05</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6</c:v>
                </c:pt>
                <c:pt idx="2">
                  <c:v>13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02</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2.0"/>
          <c:min val="6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3</c:f>
              <c:numCache>
                <c:formatCode>General</c:formatCode>
                <c:ptCount val="2"/>
                <c:pt idx="0">
                  <c:v>100</c:v>
                </c:pt>
                <c:pt idx="1">
                  <c:v>5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3</c:f>
              <c:numCache>
                <c:formatCode>General</c:formatCode>
                <c:ptCount val="2"/>
                <c:pt idx="0">
                  <c:v>100</c:v>
                </c:pt>
                <c:pt idx="1">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5</c:v>
                </c:pt>
                <c:pt idx="2">
                  <c:v>21</c:v>
                </c:pt>
                <c:pt idx="3">
                  <c:v>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103</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3</c:v>
                </c:pt>
                <c:pt idx="2">
                  <c:v>148</c:v>
                </c:pt>
                <c:pt idx="3">
                  <c:v>15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96</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6</c:v>
                </c:pt>
                <c:pt idx="2">
                  <c:v>1</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2.4"/>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1</c:v>
                </c:pt>
                <c:pt idx="3">
                  <c:v>9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8</c:v>
                </c:pt>
                <c:pt idx="2">
                  <c:v>131</c:v>
                </c:pt>
                <c:pt idx="3">
                  <c:v>13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6</c:v>
                </c:pt>
                <c:pt idx="3">
                  <c:v>7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9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99</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0.79999999999998"/>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 Design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47</c:v>
                </c:pt>
                <c:pt idx="3">
                  <c:v>12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95</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9</c:v>
                </c:pt>
                <c:pt idx="2">
                  <c:v>1331</c:v>
                </c:pt>
                <c:pt idx="3">
                  <c:v>88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122</c:v>
                </c:pt>
                <c:pt idx="3">
                  <c:v>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2</c:v>
                </c:pt>
                <c:pt idx="2">
                  <c:v>5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7.2"/>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27</c:v>
                </c:pt>
                <c:pt idx="3">
                  <c:v>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 Design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9</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66</c:v>
                </c:pt>
                <c:pt idx="2">
                  <c:v>654</c:v>
                </c:pt>
                <c:pt idx="3">
                  <c:v>46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784.8"/>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70</c:v>
                </c:pt>
                <c:pt idx="2">
                  <c:v>148</c:v>
                </c:pt>
                <c:pt idx="3">
                  <c:v>13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0</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7</c:v>
                </c:pt>
                <c:pt idx="2">
                  <c:v>2</c:v>
                </c:pt>
                <c:pt idx="3">
                  <c:v>3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11</c:v>
                </c:pt>
                <c:pt idx="3">
                  <c:v>1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4.0"/>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2</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45</c:v>
                </c:pt>
                <c:pt idx="3">
                  <c:v>17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7</c:v>
                </c:pt>
                <c:pt idx="2">
                  <c:v>122</c:v>
                </c:pt>
                <c:pt idx="3">
                  <c:v>11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25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04</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09.59999999999997"/>
          <c:min val="7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273,1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51,0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971,0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273136</c:v>
                </c:pt>
                <c:pt idx="1">
                  <c:v>5858978</c:v>
                </c:pt>
                <c:pt idx="2">
                  <c:v>6076797</c:v>
                </c:pt>
                <c:pt idx="3">
                  <c:v>5671158</c:v>
                </c:pt>
                <c:pt idx="4">
                  <c:v>6076375</c:v>
                </c:pt>
                <c:pt idx="5">
                  <c:v>6284296</c:v>
                </c:pt>
                <c:pt idx="6">
                  <c:v>6105338</c:v>
                </c:pt>
                <c:pt idx="7">
                  <c:v>6341406</c:v>
                </c:pt>
                <c:pt idx="8">
                  <c:v>6290806</c:v>
                </c:pt>
                <c:pt idx="9">
                  <c:v>6886812</c:v>
                </c:pt>
                <c:pt idx="10">
                  <c:v>7163638</c:v>
                </c:pt>
                <c:pt idx="11">
                  <c:v>8611632</c:v>
                </c:pt>
                <c:pt idx="12">
                  <c:v>7021984</c:v>
                </c:pt>
                <c:pt idx="13">
                  <c:v>6451062</c:v>
                </c:pt>
                <c:pt idx="14">
                  <c:v>6666228</c:v>
                </c:pt>
                <c:pt idx="15">
                  <c:v>6415720</c:v>
                </c:pt>
                <c:pt idx="16">
                  <c:v>6244320</c:v>
                </c:pt>
                <c:pt idx="17">
                  <c:v>6364009</c:v>
                </c:pt>
                <c:pt idx="18">
                  <c:v>6340183</c:v>
                </c:pt>
                <c:pt idx="19">
                  <c:v>7434128</c:v>
                </c:pt>
                <c:pt idx="20">
                  <c:v>7632142</c:v>
                </c:pt>
                <c:pt idx="21">
                  <c:v>8217664</c:v>
                </c:pt>
                <c:pt idx="22">
                  <c:v>8589457</c:v>
                </c:pt>
                <c:pt idx="23">
                  <c:v>10569101</c:v>
                </c:pt>
                <c:pt idx="24">
                  <c:v>897107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5</c:v>
                </c:pt>
                <c:pt idx="1">
                  <c:v>2.21</c:v>
                </c:pt>
                <c:pt idx="2">
                  <c:v>2.11</c:v>
                </c:pt>
                <c:pt idx="3">
                  <c:v>2.08</c:v>
                </c:pt>
                <c:pt idx="4">
                  <c:v>2.29</c:v>
                </c:pt>
                <c:pt idx="5">
                  <c:v>2.37</c:v>
                </c:pt>
                <c:pt idx="6">
                  <c:v>2.08</c:v>
                </c:pt>
                <c:pt idx="7">
                  <c:v>2.31</c:v>
                </c:pt>
                <c:pt idx="8">
                  <c:v>2.32</c:v>
                </c:pt>
                <c:pt idx="9">
                  <c:v>2.18</c:v>
                </c:pt>
                <c:pt idx="10">
                  <c:v>2.29</c:v>
                </c:pt>
                <c:pt idx="11">
                  <c:v>2.1</c:v>
                </c:pt>
                <c:pt idx="12">
                  <c:v>2.26</c:v>
                </c:pt>
                <c:pt idx="13">
                  <c:v>2.26</c:v>
                </c:pt>
                <c:pt idx="14">
                  <c:v>2.2</c:v>
                </c:pt>
                <c:pt idx="15">
                  <c:v>2.14</c:v>
                </c:pt>
                <c:pt idx="16">
                  <c:v>2.19</c:v>
                </c:pt>
                <c:pt idx="17">
                  <c:v>2.11</c:v>
                </c:pt>
                <c:pt idx="18">
                  <c:v>2.15</c:v>
                </c:pt>
                <c:pt idx="19">
                  <c:v>2.12</c:v>
                </c:pt>
                <c:pt idx="20">
                  <c:v>2.23</c:v>
                </c:pt>
                <c:pt idx="21">
                  <c:v>2.23</c:v>
                </c:pt>
                <c:pt idx="22">
                  <c:v>2.21</c:v>
                </c:pt>
                <c:pt idx="23">
                  <c:v>2.1</c:v>
                </c:pt>
                <c:pt idx="24">
                  <c:v>2.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8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5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144</c:v>
                </c:pt>
                <c:pt idx="1">
                  <c:v>5544</c:v>
                </c:pt>
                <c:pt idx="2">
                  <c:v>5970</c:v>
                </c:pt>
                <c:pt idx="3">
                  <c:v>7148</c:v>
                </c:pt>
                <c:pt idx="4">
                  <c:v>4689</c:v>
                </c:pt>
                <c:pt idx="5">
                  <c:v>6819</c:v>
                </c:pt>
                <c:pt idx="6">
                  <c:v>9954</c:v>
                </c:pt>
                <c:pt idx="7">
                  <c:v>17341</c:v>
                </c:pt>
                <c:pt idx="8">
                  <c:v>24962</c:v>
                </c:pt>
                <c:pt idx="9">
                  <c:v>37270</c:v>
                </c:pt>
                <c:pt idx="10">
                  <c:v>18728</c:v>
                </c:pt>
                <c:pt idx="11">
                  <c:v>26982</c:v>
                </c:pt>
                <c:pt idx="12">
                  <c:v>12981</c:v>
                </c:pt>
                <c:pt idx="13">
                  <c:v>10888</c:v>
                </c:pt>
                <c:pt idx="14">
                  <c:v>11529</c:v>
                </c:pt>
                <c:pt idx="15">
                  <c:v>12459</c:v>
                </c:pt>
                <c:pt idx="16">
                  <c:v>13156</c:v>
                </c:pt>
                <c:pt idx="17">
                  <c:v>29597</c:v>
                </c:pt>
                <c:pt idx="18">
                  <c:v>15587</c:v>
                </c:pt>
                <c:pt idx="19">
                  <c:v>16043</c:v>
                </c:pt>
                <c:pt idx="20">
                  <c:v>17067</c:v>
                </c:pt>
                <c:pt idx="21">
                  <c:v>19990</c:v>
                </c:pt>
                <c:pt idx="22">
                  <c:v>25081</c:v>
                </c:pt>
                <c:pt idx="23">
                  <c:v>24609</c:v>
                </c:pt>
                <c:pt idx="24">
                  <c:v>615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06</c:v>
                </c:pt>
                <c:pt idx="1">
                  <c:v>2.07</c:v>
                </c:pt>
                <c:pt idx="2">
                  <c:v>2.07</c:v>
                </c:pt>
                <c:pt idx="3">
                  <c:v>1.84</c:v>
                </c:pt>
                <c:pt idx="4">
                  <c:v>1.94</c:v>
                </c:pt>
                <c:pt idx="5">
                  <c:v>2.06</c:v>
                </c:pt>
                <c:pt idx="6">
                  <c:v>1.32</c:v>
                </c:pt>
                <c:pt idx="7">
                  <c:v>1.25</c:v>
                </c:pt>
                <c:pt idx="8">
                  <c:v>1.22</c:v>
                </c:pt>
                <c:pt idx="9">
                  <c:v>1.22</c:v>
                </c:pt>
                <c:pt idx="10">
                  <c:v>1.49</c:v>
                </c:pt>
                <c:pt idx="11">
                  <c:v>1.44</c:v>
                </c:pt>
                <c:pt idx="12">
                  <c:v>1.94</c:v>
                </c:pt>
                <c:pt idx="13">
                  <c:v>1.92</c:v>
                </c:pt>
                <c:pt idx="14">
                  <c:v>2.1</c:v>
                </c:pt>
                <c:pt idx="15">
                  <c:v>2.1</c:v>
                </c:pt>
                <c:pt idx="16">
                  <c:v>2.03</c:v>
                </c:pt>
                <c:pt idx="17">
                  <c:v>1.92</c:v>
                </c:pt>
                <c:pt idx="18">
                  <c:v>2.15</c:v>
                </c:pt>
                <c:pt idx="19">
                  <c:v>2.27</c:v>
                </c:pt>
                <c:pt idx="20">
                  <c:v>2.17</c:v>
                </c:pt>
                <c:pt idx="21">
                  <c:v>2.12</c:v>
                </c:pt>
                <c:pt idx="22">
                  <c:v>2.09</c:v>
                </c:pt>
                <c:pt idx="23">
                  <c:v>2.2</c:v>
                </c:pt>
                <c:pt idx="24">
                  <c:v>1.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6</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6</c:v>
                </c:pt>
                <c:pt idx="3">
                  <c:v>11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3</c:v>
                </c:pt>
                <c:pt idx="2">
                  <c:v>124</c:v>
                </c:pt>
                <c:pt idx="3">
                  <c:v>10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hurch &amp; Dwight Co In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1</c:v>
                </c:pt>
                <c:pt idx="2">
                  <c:v>8</c:v>
                </c:pt>
                <c:pt idx="3">
                  <c:v>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4</c:v>
                </c:pt>
                <c:pt idx="2">
                  <c:v>122</c:v>
                </c:pt>
                <c:pt idx="3">
                  <c:v>11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94</c:v>
                </c:pt>
                <c:pt idx="3">
                  <c:v>9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89</c:v>
                </c:pt>
                <c:pt idx="3">
                  <c:v>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0</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3</c:v>
                </c:pt>
                <c:pt idx="2">
                  <c:v>122</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hurch &amp; Dwight Co In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76</c:v>
                </c:pt>
                <c:pt idx="3">
                  <c:v>6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7</c:v>
                </c:pt>
                <c:pt idx="2">
                  <c:v>165</c:v>
                </c:pt>
                <c:pt idx="3">
                  <c:v>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9</c:v>
                </c:pt>
                <c:pt idx="3">
                  <c:v>12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97</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4.0"/>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9</c:v>
                </c:pt>
                <c:pt idx="2">
                  <c:v>80</c:v>
                </c:pt>
                <c:pt idx="3">
                  <c:v>7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100</c:v>
                </c:pt>
                <c:pt idx="3">
                  <c:v>8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6</c:v>
                </c:pt>
                <c:pt idx="2">
                  <c:v>28</c:v>
                </c:pt>
                <c:pt idx="3">
                  <c:v>1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2</c:v>
                </c:pt>
                <c:pt idx="2">
                  <c:v>118</c:v>
                </c:pt>
                <c:pt idx="3">
                  <c:v>14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52</c:v>
                </c:pt>
                <c:pt idx="2">
                  <c:v>1829</c:v>
                </c:pt>
                <c:pt idx="3">
                  <c:v>22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94.7999999999997"/>
          <c:min val="9.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8</c:v>
                </c:pt>
                <c:pt idx="2">
                  <c:v>151</c:v>
                </c:pt>
                <c:pt idx="3">
                  <c:v>14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81</c:v>
                </c:pt>
                <c:pt idx="3">
                  <c:v>11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16</c:v>
                </c:pt>
                <c:pt idx="3">
                  <c:v>11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140</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1.2"/>
          <c:min val="6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47,5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48,4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30,6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47501</c:v>
                </c:pt>
                <c:pt idx="1">
                  <c:v>2119766</c:v>
                </c:pt>
                <c:pt idx="2">
                  <c:v>2312508</c:v>
                </c:pt>
                <c:pt idx="3">
                  <c:v>2232121</c:v>
                </c:pt>
                <c:pt idx="4">
                  <c:v>2446002</c:v>
                </c:pt>
                <c:pt idx="5">
                  <c:v>2481002</c:v>
                </c:pt>
                <c:pt idx="6">
                  <c:v>2225934</c:v>
                </c:pt>
                <c:pt idx="7">
                  <c:v>2421627</c:v>
                </c:pt>
                <c:pt idx="8">
                  <c:v>2349882</c:v>
                </c:pt>
                <c:pt idx="9">
                  <c:v>2520324</c:v>
                </c:pt>
                <c:pt idx="10">
                  <c:v>2489401</c:v>
                </c:pt>
                <c:pt idx="11">
                  <c:v>3305437</c:v>
                </c:pt>
                <c:pt idx="12">
                  <c:v>2545327</c:v>
                </c:pt>
                <c:pt idx="13">
                  <c:v>2248491</c:v>
                </c:pt>
                <c:pt idx="14">
                  <c:v>2378686</c:v>
                </c:pt>
                <c:pt idx="15">
                  <c:v>2320287</c:v>
                </c:pt>
                <c:pt idx="16">
                  <c:v>2099794</c:v>
                </c:pt>
                <c:pt idx="17">
                  <c:v>2113729</c:v>
                </c:pt>
                <c:pt idx="18">
                  <c:v>2117861</c:v>
                </c:pt>
                <c:pt idx="19">
                  <c:v>2534092</c:v>
                </c:pt>
                <c:pt idx="20">
                  <c:v>2730535</c:v>
                </c:pt>
                <c:pt idx="21">
                  <c:v>3035588</c:v>
                </c:pt>
                <c:pt idx="22">
                  <c:v>3130231</c:v>
                </c:pt>
                <c:pt idx="23">
                  <c:v>3915513</c:v>
                </c:pt>
                <c:pt idx="24">
                  <c:v>32306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8</c:v>
                </c:pt>
                <c:pt idx="1">
                  <c:v>2.86</c:v>
                </c:pt>
                <c:pt idx="2">
                  <c:v>2.76</c:v>
                </c:pt>
                <c:pt idx="3">
                  <c:v>2.84</c:v>
                </c:pt>
                <c:pt idx="4">
                  <c:v>3.23</c:v>
                </c:pt>
                <c:pt idx="5">
                  <c:v>3.18</c:v>
                </c:pt>
                <c:pt idx="6">
                  <c:v>3.16</c:v>
                </c:pt>
                <c:pt idx="7">
                  <c:v>3.2</c:v>
                </c:pt>
                <c:pt idx="8">
                  <c:v>3.24</c:v>
                </c:pt>
                <c:pt idx="9">
                  <c:v>3.13</c:v>
                </c:pt>
                <c:pt idx="10">
                  <c:v>3.2</c:v>
                </c:pt>
                <c:pt idx="11">
                  <c:v>2.74</c:v>
                </c:pt>
                <c:pt idx="12">
                  <c:v>2.99</c:v>
                </c:pt>
                <c:pt idx="13">
                  <c:v>3.07</c:v>
                </c:pt>
                <c:pt idx="14">
                  <c:v>2.96</c:v>
                </c:pt>
                <c:pt idx="15">
                  <c:v>2.95</c:v>
                </c:pt>
                <c:pt idx="16">
                  <c:v>3.29</c:v>
                </c:pt>
                <c:pt idx="17">
                  <c:v>2.85</c:v>
                </c:pt>
                <c:pt idx="18">
                  <c:v>3.1</c:v>
                </c:pt>
                <c:pt idx="19">
                  <c:v>3.32</c:v>
                </c:pt>
                <c:pt idx="20">
                  <c:v>3.26</c:v>
                </c:pt>
                <c:pt idx="21">
                  <c:v>3.17</c:v>
                </c:pt>
                <c:pt idx="22">
                  <c:v>3.4</c:v>
                </c:pt>
                <c:pt idx="23">
                  <c:v>3.12</c:v>
                </c:pt>
                <c:pt idx="24">
                  <c:v>3.3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7</c:v>
                </c:pt>
                <c:pt idx="2">
                  <c:v>110</c:v>
                </c:pt>
                <c:pt idx="3">
                  <c:v>9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95</c:v>
                </c:pt>
                <c:pt idx="3">
                  <c:v>1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5</c:v>
                </c:pt>
                <c:pt idx="3">
                  <c:v>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Razor Ind</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7</c:v>
                </c:pt>
                <c:pt idx="2">
                  <c:v>882</c:v>
                </c:pt>
                <c:pt idx="3">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068.0"/>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03</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8</c:v>
                </c:pt>
                <c:pt idx="3">
                  <c:v>11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59</c:v>
                </c:pt>
                <c:pt idx="3">
                  <c:v>5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1</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Razor Ind</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6</c:v>
                </c:pt>
                <c:pt idx="3">
                  <c:v>11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2</c:v>
                </c:pt>
                <c:pt idx="2">
                  <c:v>161</c:v>
                </c:pt>
                <c:pt idx="3">
                  <c:v>17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1</c:v>
                </c:pt>
                <c:pt idx="2">
                  <c:v>68</c:v>
                </c:pt>
                <c:pt idx="3">
                  <c:v>6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6.4"/>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6</c:v>
                </c:pt>
                <c:pt idx="2">
                  <c:v>96</c:v>
                </c:pt>
                <c:pt idx="3">
                  <c:v>9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23</c:v>
                </c:pt>
                <c:pt idx="3">
                  <c:v>13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8.4"/>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113</c:v>
                </c:pt>
                <c:pt idx="3">
                  <c:v>11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27</c:v>
                </c:pt>
                <c:pt idx="3">
                  <c:v>11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84</c:v>
                </c:pt>
                <c:pt idx="3">
                  <c:v>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2.4"/>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04</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9</c:v>
                </c:pt>
                <c:pt idx="3">
                  <c:v>12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7</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97</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77.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3</c:f>
              <c:numCache>
                <c:formatCode>General</c:formatCode>
                <c:ptCount val="2"/>
                <c:pt idx="0">
                  <c:v>100</c:v>
                </c:pt>
                <c:pt idx="1">
                  <c:v>5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octer &amp; Gambl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3</c:f>
              <c:numCache>
                <c:formatCode>General</c:formatCode>
                <c:ptCount val="2"/>
                <c:pt idx="0">
                  <c:v>100</c:v>
                </c:pt>
                <c:pt idx="1">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5</c:v>
                </c:pt>
                <c:pt idx="2">
                  <c:v>21</c:v>
                </c:pt>
                <c:pt idx="3">
                  <c:v>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103</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3</c:v>
                </c:pt>
                <c:pt idx="2">
                  <c:v>148</c:v>
                </c:pt>
                <c:pt idx="3">
                  <c:v>15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96</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6</c:v>
                </c:pt>
                <c:pt idx="2">
                  <c:v>1</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2.4"/>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hurch &amp; Dwight Co In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1</c:v>
                </c:pt>
                <c:pt idx="3">
                  <c:v>9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8</c:v>
                </c:pt>
                <c:pt idx="2">
                  <c:v>131</c:v>
                </c:pt>
                <c:pt idx="3">
                  <c:v>13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6</c:v>
                </c:pt>
                <c:pt idx="3">
                  <c:v>7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9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99</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0.79999999999998"/>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07,5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45,9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894,7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07567</c:v>
                </c:pt>
                <c:pt idx="1">
                  <c:v>2550371</c:v>
                </c:pt>
                <c:pt idx="2">
                  <c:v>2567641</c:v>
                </c:pt>
                <c:pt idx="3">
                  <c:v>2300973</c:v>
                </c:pt>
                <c:pt idx="4">
                  <c:v>2430560</c:v>
                </c:pt>
                <c:pt idx="5">
                  <c:v>2650612</c:v>
                </c:pt>
                <c:pt idx="6">
                  <c:v>2591911</c:v>
                </c:pt>
                <c:pt idx="7">
                  <c:v>2672796</c:v>
                </c:pt>
                <c:pt idx="8">
                  <c:v>2724932</c:v>
                </c:pt>
                <c:pt idx="9">
                  <c:v>2951277</c:v>
                </c:pt>
                <c:pt idx="10">
                  <c:v>3191404</c:v>
                </c:pt>
                <c:pt idx="11">
                  <c:v>3564461</c:v>
                </c:pt>
                <c:pt idx="12">
                  <c:v>3105362</c:v>
                </c:pt>
                <c:pt idx="13">
                  <c:v>2945943</c:v>
                </c:pt>
                <c:pt idx="14">
                  <c:v>2928715</c:v>
                </c:pt>
                <c:pt idx="15">
                  <c:v>2823663</c:v>
                </c:pt>
                <c:pt idx="16">
                  <c:v>2806280</c:v>
                </c:pt>
                <c:pt idx="17">
                  <c:v>2975194</c:v>
                </c:pt>
                <c:pt idx="18">
                  <c:v>2913917</c:v>
                </c:pt>
                <c:pt idx="19">
                  <c:v>3251210</c:v>
                </c:pt>
                <c:pt idx="20">
                  <c:v>3244975</c:v>
                </c:pt>
                <c:pt idx="21">
                  <c:v>3515542</c:v>
                </c:pt>
                <c:pt idx="22">
                  <c:v>3608466</c:v>
                </c:pt>
                <c:pt idx="23">
                  <c:v>4430217</c:v>
                </c:pt>
                <c:pt idx="24">
                  <c:v>389479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9</c:v>
                </c:pt>
                <c:pt idx="1">
                  <c:v>3.42</c:v>
                </c:pt>
                <c:pt idx="2">
                  <c:v>3.54</c:v>
                </c:pt>
                <c:pt idx="3">
                  <c:v>3.62</c:v>
                </c:pt>
                <c:pt idx="4">
                  <c:v>3.57</c:v>
                </c:pt>
                <c:pt idx="5">
                  <c:v>3.63</c:v>
                </c:pt>
                <c:pt idx="6">
                  <c:v>3.39</c:v>
                </c:pt>
                <c:pt idx="7">
                  <c:v>3.26</c:v>
                </c:pt>
                <c:pt idx="8">
                  <c:v>3.2</c:v>
                </c:pt>
                <c:pt idx="9">
                  <c:v>3.16</c:v>
                </c:pt>
                <c:pt idx="10">
                  <c:v>3.15</c:v>
                </c:pt>
                <c:pt idx="11">
                  <c:v>3.04</c:v>
                </c:pt>
                <c:pt idx="12">
                  <c:v>2.98</c:v>
                </c:pt>
                <c:pt idx="13">
                  <c:v>2.95</c:v>
                </c:pt>
                <c:pt idx="14">
                  <c:v>2.97</c:v>
                </c:pt>
                <c:pt idx="15">
                  <c:v>2.99</c:v>
                </c:pt>
                <c:pt idx="16">
                  <c:v>2.77</c:v>
                </c:pt>
                <c:pt idx="17">
                  <c:v>2.75</c:v>
                </c:pt>
                <c:pt idx="18">
                  <c:v>2.75</c:v>
                </c:pt>
                <c:pt idx="19">
                  <c:v>2.71</c:v>
                </c:pt>
                <c:pt idx="20">
                  <c:v>2.73</c:v>
                </c:pt>
                <c:pt idx="21">
                  <c:v>2.71</c:v>
                </c:pt>
                <c:pt idx="22">
                  <c:v>2.69</c:v>
                </c:pt>
                <c:pt idx="23">
                  <c:v>2.61</c:v>
                </c:pt>
                <c:pt idx="24">
                  <c:v>2.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 Design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47</c:v>
                </c:pt>
                <c:pt idx="3">
                  <c:v>12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95</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9</c:v>
                </c:pt>
                <c:pt idx="2">
                  <c:v>1331</c:v>
                </c:pt>
                <c:pt idx="3">
                  <c:v>88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122</c:v>
                </c:pt>
                <c:pt idx="3">
                  <c:v>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2</c:v>
                </c:pt>
                <c:pt idx="2">
                  <c:v>5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7.2"/>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27</c:v>
                </c:pt>
                <c:pt idx="3">
                  <c:v>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 Design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9</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66</c:v>
                </c:pt>
                <c:pt idx="2">
                  <c:v>654</c:v>
                </c:pt>
                <c:pt idx="3">
                  <c:v>46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784.8"/>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70</c:v>
                </c:pt>
                <c:pt idx="2">
                  <c:v>148</c:v>
                </c:pt>
                <c:pt idx="3">
                  <c:v>13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0</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7</c:v>
                </c:pt>
                <c:pt idx="2">
                  <c:v>2</c:v>
                </c:pt>
                <c:pt idx="3">
                  <c:v>3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11</c:v>
                </c:pt>
                <c:pt idx="3">
                  <c:v>1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4.0"/>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2</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45</c:v>
                </c:pt>
                <c:pt idx="3">
                  <c:v>17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7</c:v>
                </c:pt>
                <c:pt idx="2">
                  <c:v>122</c:v>
                </c:pt>
                <c:pt idx="3">
                  <c:v>11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25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04</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09.59999999999997"/>
          <c:min val="7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2</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2</c:v>
                </c:pt>
                <c:pt idx="2">
                  <c:v>32</c:v>
                </c:pt>
                <c:pt idx="3">
                  <c:v>4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74</c:v>
                </c:pt>
                <c:pt idx="2">
                  <c:v>198</c:v>
                </c:pt>
                <c:pt idx="3">
                  <c:v>1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55</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49</c:v>
                </c:pt>
                <c:pt idx="3">
                  <c:v>5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31</c:v>
                </c:pt>
                <c:pt idx="2">
                  <c:v>235</c:v>
                </c:pt>
                <c:pt idx="3">
                  <c:v>2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82.0"/>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9</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2</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7,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B$2:$B$26</c:f>
              <c:numCache>
                <c:formatCode>General</c:formatCode>
                <c:ptCount val="25"/>
                <c:pt idx="0">
                  <c:v>37012</c:v>
                </c:pt>
                <c:pt idx="1">
                  <c:v>74227</c:v>
                </c:pt>
                <c:pt idx="2">
                  <c:v>43117</c:v>
                </c:pt>
                <c:pt idx="3">
                  <c:v>25119</c:v>
                </c:pt>
                <c:pt idx="4">
                  <c:v>21505</c:v>
                </c:pt>
                <c:pt idx="5">
                  <c:v>16671</c:v>
                </c:pt>
                <c:pt idx="6">
                  <c:v>23862</c:v>
                </c:pt>
                <c:pt idx="7">
                  <c:v>12269</c:v>
                </c:pt>
                <c:pt idx="8">
                  <c:v>16006</c:v>
                </c:pt>
                <c:pt idx="9">
                  <c:v>13388</c:v>
                </c:pt>
                <c:pt idx="10">
                  <c:v>10393</c:v>
                </c:pt>
                <c:pt idx="11">
                  <c:v>3030</c:v>
                </c:pt>
                <c:pt idx="12">
                  <c:v>672</c:v>
                </c:pt>
                <c:pt idx="13">
                  <c:v>265</c:v>
                </c:pt>
                <c:pt idx="14">
                  <c:v>266</c:v>
                </c:pt>
                <c:pt idx="15">
                  <c:v>131</c:v>
                </c:pt>
                <c:pt idx="16">
                  <c:v>55</c:v>
                </c:pt>
                <c:pt idx="17">
                  <c:v>36</c:v>
                </c:pt>
                <c:pt idx="18">
                  <c:v>43</c:v>
                </c:pt>
                <c:pt idx="19">
                  <c:v>35</c:v>
                </c:pt>
                <c:pt idx="20">
                  <c:v>35</c:v>
                </c:pt>
                <c:pt idx="21">
                  <c:v>22</c:v>
                </c:pt>
                <c:pt idx="22">
                  <c:v>12</c:v>
                </c:pt>
                <c:pt idx="23">
                  <c:v>0</c:v>
                </c:pt>
                <c:pt idx="24">
                  <c:v>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C$2:$C$26</c:f>
              <c:numCache>
                <c:formatCode>General</c:formatCode>
                <c:ptCount val="25"/>
                <c:pt idx="0">
                  <c:v>2.13</c:v>
                </c:pt>
                <c:pt idx="1">
                  <c:v>2.05</c:v>
                </c:pt>
                <c:pt idx="2">
                  <c:v>2.28</c:v>
                </c:pt>
                <c:pt idx="3">
                  <c:v>2.32</c:v>
                </c:pt>
                <c:pt idx="4">
                  <c:v>2.35</c:v>
                </c:pt>
                <c:pt idx="5">
                  <c:v>2.36</c:v>
                </c:pt>
                <c:pt idx="6">
                  <c:v>2.23</c:v>
                </c:pt>
                <c:pt idx="7">
                  <c:v>2.35</c:v>
                </c:pt>
                <c:pt idx="8">
                  <c:v>2.33</c:v>
                </c:pt>
                <c:pt idx="9">
                  <c:v>2.31</c:v>
                </c:pt>
                <c:pt idx="10">
                  <c:v>2.24</c:v>
                </c:pt>
                <c:pt idx="11">
                  <c:v>2.29</c:v>
                </c:pt>
                <c:pt idx="12">
                  <c:v>2.14</c:v>
                </c:pt>
                <c:pt idx="13">
                  <c:v>1.79</c:v>
                </c:pt>
                <c:pt idx="14">
                  <c:v>1.87</c:v>
                </c:pt>
                <c:pt idx="15">
                  <c:v>1.85</c:v>
                </c:pt>
                <c:pt idx="16">
                  <c:v>2.39</c:v>
                </c:pt>
                <c:pt idx="17">
                  <c:v>1.89</c:v>
                </c:pt>
                <c:pt idx="18">
                  <c:v>2.26</c:v>
                </c:pt>
                <c:pt idx="19">
                  <c:v>2.06</c:v>
                </c:pt>
                <c:pt idx="20">
                  <c:v>2.06</c:v>
                </c:pt>
                <c:pt idx="21">
                  <c:v>2.2</c:v>
                </c:pt>
                <c:pt idx="22">
                  <c:v>0.67</c:v>
                </c:pt>
                <c:pt idx="23">
                  <c:v>0.0</c:v>
                </c:pt>
                <c:pt idx="24">
                  <c:v>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08</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8</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102</c:v>
                </c:pt>
                <c:pt idx="3">
                  <c:v>9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hurch &amp; Dwight Co In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75</c:v>
                </c:pt>
                <c:pt idx="2">
                  <c:v>1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07</c:v>
                </c:pt>
                <c:pt idx="2">
                  <c:v>174</c:v>
                </c:pt>
                <c:pt idx="3">
                  <c:v>1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115</c:v>
                </c:pt>
                <c:pt idx="3">
                  <c:v>11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8</c:v>
                </c:pt>
                <c:pt idx="2">
                  <c:v>86</c:v>
                </c:pt>
                <c:pt idx="3">
                  <c:v>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8.39999999999998"/>
          <c:min val="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08</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hurch &amp; Dwight Co In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86</c:v>
                </c:pt>
                <c:pt idx="2">
                  <c:v>8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3</c:v>
                </c:pt>
                <c:pt idx="2">
                  <c:v>139</c:v>
                </c:pt>
                <c:pt idx="3">
                  <c:v>15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7</c:v>
                </c:pt>
                <c:pt idx="2">
                  <c:v>148</c:v>
                </c:pt>
                <c:pt idx="3">
                  <c:v>16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2</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3</c:v>
                </c:pt>
                <c:pt idx="2">
                  <c:v>47</c:v>
                </c:pt>
                <c:pt idx="3">
                  <c:v>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5</c:v>
                </c:pt>
                <c:pt idx="2">
                  <c:v>164</c:v>
                </c:pt>
                <c:pt idx="3">
                  <c:v>16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6</c:v>
                </c:pt>
                <c:pt idx="2">
                  <c:v>55</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21</c:v>
                </c:pt>
                <c:pt idx="3">
                  <c:v>16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964</c:v>
                </c:pt>
                <c:pt idx="2">
                  <c:v>1915</c:v>
                </c:pt>
                <c:pt idx="3">
                  <c:v>23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69.6"/>
          <c:min val="3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3</c:v>
                </c:pt>
                <c:pt idx="3">
                  <c:v>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eflect O Corp</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6</c:v>
                </c:pt>
                <c:pt idx="2">
                  <c:v>23</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 Inc</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2</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6</c:v>
                </c:pt>
                <c:pt idx="3">
                  <c:v>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1</c:v>
                </c:pt>
                <c:pt idx="2">
                  <c:v>38</c:v>
                </c:pt>
                <c:pt idx="3">
                  <c:v>1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2</c:v>
                </c:pt>
                <c:pt idx="3">
                  <c:v>11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1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6</c:v>
                </c:pt>
                <c:pt idx="2">
                  <c:v>125</c:v>
                </c:pt>
                <c:pt idx="3">
                  <c:v>12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48</c:v>
                </c:pt>
                <c:pt idx="3">
                  <c:v>15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3</c:v>
                </c:pt>
                <c:pt idx="3">
                  <c:v>9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5</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6.0"/>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75,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69,4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57,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75731</c:v>
                </c:pt>
                <c:pt idx="1">
                  <c:v>1956377</c:v>
                </c:pt>
                <c:pt idx="2">
                  <c:v>1877820</c:v>
                </c:pt>
                <c:pt idx="3">
                  <c:v>1785862</c:v>
                </c:pt>
                <c:pt idx="4">
                  <c:v>2218461</c:v>
                </c:pt>
                <c:pt idx="5">
                  <c:v>1830323</c:v>
                </c:pt>
                <c:pt idx="6">
                  <c:v>1982282</c:v>
                </c:pt>
                <c:pt idx="7">
                  <c:v>3092193</c:v>
                </c:pt>
                <c:pt idx="8">
                  <c:v>2481281</c:v>
                </c:pt>
                <c:pt idx="9">
                  <c:v>3379661</c:v>
                </c:pt>
                <c:pt idx="10">
                  <c:v>3174981</c:v>
                </c:pt>
                <c:pt idx="11">
                  <c:v>2931797</c:v>
                </c:pt>
                <c:pt idx="12">
                  <c:v>2724852</c:v>
                </c:pt>
                <c:pt idx="13">
                  <c:v>2269409</c:v>
                </c:pt>
                <c:pt idx="14">
                  <c:v>1985029</c:v>
                </c:pt>
                <c:pt idx="15">
                  <c:v>1819241</c:v>
                </c:pt>
                <c:pt idx="16">
                  <c:v>2138406</c:v>
                </c:pt>
                <c:pt idx="17">
                  <c:v>1729885</c:v>
                </c:pt>
                <c:pt idx="18">
                  <c:v>1797903</c:v>
                </c:pt>
                <c:pt idx="19">
                  <c:v>2068839</c:v>
                </c:pt>
                <c:pt idx="20">
                  <c:v>2175393</c:v>
                </c:pt>
                <c:pt idx="21">
                  <c:v>2301775</c:v>
                </c:pt>
                <c:pt idx="22">
                  <c:v>2493337</c:v>
                </c:pt>
                <c:pt idx="23">
                  <c:v>2843229</c:v>
                </c:pt>
                <c:pt idx="24">
                  <c:v>26575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64</c:v>
                </c:pt>
                <c:pt idx="1">
                  <c:v>6.95</c:v>
                </c:pt>
                <c:pt idx="2">
                  <c:v>6.6</c:v>
                </c:pt>
                <c:pt idx="3">
                  <c:v>6.64</c:v>
                </c:pt>
                <c:pt idx="4">
                  <c:v>6.77</c:v>
                </c:pt>
                <c:pt idx="5">
                  <c:v>6.64</c:v>
                </c:pt>
                <c:pt idx="6">
                  <c:v>6.36</c:v>
                </c:pt>
                <c:pt idx="7">
                  <c:v>6.59</c:v>
                </c:pt>
                <c:pt idx="8">
                  <c:v>6.98</c:v>
                </c:pt>
                <c:pt idx="9">
                  <c:v>6.75</c:v>
                </c:pt>
                <c:pt idx="10">
                  <c:v>6.73</c:v>
                </c:pt>
                <c:pt idx="11">
                  <c:v>6.98</c:v>
                </c:pt>
                <c:pt idx="12">
                  <c:v>6.53</c:v>
                </c:pt>
                <c:pt idx="13">
                  <c:v>7.25</c:v>
                </c:pt>
                <c:pt idx="14">
                  <c:v>6.66</c:v>
                </c:pt>
                <c:pt idx="15">
                  <c:v>6.74</c:v>
                </c:pt>
                <c:pt idx="16">
                  <c:v>6.69</c:v>
                </c:pt>
                <c:pt idx="17">
                  <c:v>6.84</c:v>
                </c:pt>
                <c:pt idx="18">
                  <c:v>6.36</c:v>
                </c:pt>
                <c:pt idx="19">
                  <c:v>6.4</c:v>
                </c:pt>
                <c:pt idx="20">
                  <c:v>6.26</c:v>
                </c:pt>
                <c:pt idx="21">
                  <c:v>6.07</c:v>
                </c:pt>
                <c:pt idx="22">
                  <c:v>6.26</c:v>
                </c:pt>
                <c:pt idx="23">
                  <c:v>6.2</c:v>
                </c:pt>
                <c:pt idx="24">
                  <c:v>6.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dgew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3</c:v>
                </c:pt>
                <c:pt idx="2">
                  <c:v>126</c:v>
                </c:pt>
                <c:pt idx="3">
                  <c:v>10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hurch &amp; Dwight Co In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2</c:v>
                </c:pt>
                <c:pt idx="2">
                  <c:v>9</c:v>
                </c:pt>
                <c:pt idx="3">
                  <c:v>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5</c:v>
                </c:pt>
                <c:pt idx="2">
                  <c:v>125</c:v>
                </c:pt>
                <c:pt idx="3">
                  <c:v>12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91</c:v>
                </c:pt>
                <c:pt idx="3">
                  <c:v>9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89</c:v>
                </c:pt>
                <c:pt idx="3">
                  <c:v>9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4.0"/>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23</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hurch &amp; Dwight Co Inc</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76</c:v>
                </c:pt>
                <c:pt idx="3">
                  <c:v>6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dgewel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6</c:v>
                </c:pt>
                <c:pt idx="2">
                  <c:v>164</c:v>
                </c:pt>
                <c:pt idx="3">
                  <c:v>16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7</c:v>
                </c:pt>
                <c:pt idx="3">
                  <c:v>12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97</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1.6"/>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9</c:v>
                </c:pt>
                <c:pt idx="2">
                  <c:v>80</c:v>
                </c:pt>
                <c:pt idx="3">
                  <c:v>7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100</c:v>
                </c:pt>
                <c:pt idx="3">
                  <c:v>8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1</c:v>
                </c:pt>
                <c:pt idx="2">
                  <c:v>30</c:v>
                </c:pt>
                <c:pt idx="3">
                  <c:v>1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2</c:v>
                </c:pt>
                <c:pt idx="2">
                  <c:v>119</c:v>
                </c:pt>
                <c:pt idx="3">
                  <c:v>14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25</c:v>
                </c:pt>
                <c:pt idx="2">
                  <c:v>1769</c:v>
                </c:pt>
                <c:pt idx="3">
                  <c:v>22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22.7999999999997"/>
          <c:min val="11.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8</c:v>
                </c:pt>
                <c:pt idx="2">
                  <c:v>150</c:v>
                </c:pt>
                <c:pt idx="3">
                  <c:v>14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2</c:v>
                </c:pt>
                <c:pt idx="2">
                  <c:v>91</c:v>
                </c:pt>
                <c:pt idx="3">
                  <c:v>1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16</c:v>
                </c:pt>
                <c:pt idx="3">
                  <c:v>11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142</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0.0"/>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77,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35,2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14,6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77167</c:v>
                </c:pt>
                <c:pt idx="1">
                  <c:v>2088584</c:v>
                </c:pt>
                <c:pt idx="2">
                  <c:v>1977676</c:v>
                </c:pt>
                <c:pt idx="3">
                  <c:v>1713161</c:v>
                </c:pt>
                <c:pt idx="4">
                  <c:v>1980418</c:v>
                </c:pt>
                <c:pt idx="5">
                  <c:v>1900495</c:v>
                </c:pt>
                <c:pt idx="6">
                  <c:v>1766837</c:v>
                </c:pt>
                <c:pt idx="7">
                  <c:v>2158413</c:v>
                </c:pt>
                <c:pt idx="8">
                  <c:v>2207170</c:v>
                </c:pt>
                <c:pt idx="9">
                  <c:v>2354328</c:v>
                </c:pt>
                <c:pt idx="10">
                  <c:v>2476521</c:v>
                </c:pt>
                <c:pt idx="11">
                  <c:v>2542564</c:v>
                </c:pt>
                <c:pt idx="12">
                  <c:v>2341362</c:v>
                </c:pt>
                <c:pt idx="13">
                  <c:v>2135204</c:v>
                </c:pt>
                <c:pt idx="14">
                  <c:v>1931059</c:v>
                </c:pt>
                <c:pt idx="15">
                  <c:v>1758439</c:v>
                </c:pt>
                <c:pt idx="16">
                  <c:v>2053287</c:v>
                </c:pt>
                <c:pt idx="17">
                  <c:v>1805152</c:v>
                </c:pt>
                <c:pt idx="18">
                  <c:v>1738264</c:v>
                </c:pt>
                <c:pt idx="19">
                  <c:v>2021194</c:v>
                </c:pt>
                <c:pt idx="20">
                  <c:v>2028816</c:v>
                </c:pt>
                <c:pt idx="21">
                  <c:v>2352973</c:v>
                </c:pt>
                <c:pt idx="22">
                  <c:v>2607156</c:v>
                </c:pt>
                <c:pt idx="23">
                  <c:v>2457566</c:v>
                </c:pt>
                <c:pt idx="24">
                  <c:v>24146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4</c:v>
                </c:pt>
                <c:pt idx="1">
                  <c:v>4.34</c:v>
                </c:pt>
                <c:pt idx="2">
                  <c:v>4.31</c:v>
                </c:pt>
                <c:pt idx="3">
                  <c:v>4.35</c:v>
                </c:pt>
                <c:pt idx="4">
                  <c:v>4.38</c:v>
                </c:pt>
                <c:pt idx="5">
                  <c:v>4.28</c:v>
                </c:pt>
                <c:pt idx="6">
                  <c:v>4.25</c:v>
                </c:pt>
                <c:pt idx="7">
                  <c:v>4.37</c:v>
                </c:pt>
                <c:pt idx="8">
                  <c:v>4.35</c:v>
                </c:pt>
                <c:pt idx="9">
                  <c:v>4.34</c:v>
                </c:pt>
                <c:pt idx="10">
                  <c:v>4.27</c:v>
                </c:pt>
                <c:pt idx="11">
                  <c:v>4.44</c:v>
                </c:pt>
                <c:pt idx="12">
                  <c:v>4.44</c:v>
                </c:pt>
                <c:pt idx="13">
                  <c:v>4.52</c:v>
                </c:pt>
                <c:pt idx="14">
                  <c:v>4.45</c:v>
                </c:pt>
                <c:pt idx="15">
                  <c:v>4.45</c:v>
                </c:pt>
                <c:pt idx="16">
                  <c:v>4.4</c:v>
                </c:pt>
                <c:pt idx="17">
                  <c:v>4.45</c:v>
                </c:pt>
                <c:pt idx="18">
                  <c:v>4.28</c:v>
                </c:pt>
                <c:pt idx="19">
                  <c:v>4.24</c:v>
                </c:pt>
                <c:pt idx="20">
                  <c:v>4.23</c:v>
                </c:pt>
                <c:pt idx="21">
                  <c:v>4.15</c:v>
                </c:pt>
                <c:pt idx="22">
                  <c:v>4.15</c:v>
                </c:pt>
                <c:pt idx="23">
                  <c:v>4.16</c:v>
                </c:pt>
                <c:pt idx="24">
                  <c:v>4.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7</c:v>
                </c:pt>
                <c:pt idx="3">
                  <c:v>10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8</c:v>
                </c:pt>
                <c:pt idx="2">
                  <c:v>66</c:v>
                </c:pt>
                <c:pt idx="3">
                  <c:v>6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50</c:v>
                </c:pt>
                <c:pt idx="2">
                  <c:v>854</c:v>
                </c:pt>
                <c:pt idx="3">
                  <c:v>139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3</c:v>
                </c:pt>
                <c:pt idx="3">
                  <c:v>8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75</c:v>
                </c:pt>
                <c:pt idx="3">
                  <c:v>6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78.8"/>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6</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108</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93</c:v>
                </c:pt>
                <c:pt idx="3">
                  <c:v>8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6</c:v>
                </c:pt>
                <c:pt idx="2">
                  <c:v>38</c:v>
                </c:pt>
                <c:pt idx="3">
                  <c:v>3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octer &amp; Gambl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9</c:v>
                </c:pt>
                <c:pt idx="2">
                  <c:v>122</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 Ind</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28</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2</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5</c:v>
                </c:pt>
                <c:pt idx="2">
                  <c:v>111</c:v>
                </c:pt>
                <c:pt idx="3">
                  <c:v>10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9</c:v>
                </c:pt>
                <c:pt idx="2">
                  <c:v>40</c:v>
                </c:pt>
                <c:pt idx="3">
                  <c:v>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13</c:v>
                </c:pt>
                <c:pt idx="2">
                  <c:v>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1</c:v>
                </c:pt>
                <c:pt idx="2">
                  <c:v>112</c:v>
                </c:pt>
                <c:pt idx="3">
                  <c:v>13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9.2"/>
          <c:min val="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Company,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1</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96</c:v>
                </c:pt>
                <c:pt idx="3">
                  <c:v>10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Edgewel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05</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arry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05</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6</c:v>
                </c:pt>
                <c:pt idx="2">
                  <c:v>13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octer &amp; Gambl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4</c:v>
                </c:pt>
                <c:pt idx="2">
                  <c:v>128</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2.0"/>
          <c:min val="6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4</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1</c:v>
                </c:pt>
                <c:pt idx="3">
                  <c:v>10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9</c:v>
                </c:pt>
                <c:pt idx="3">
                  <c:v>8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93</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99</c:v>
                </c:pt>
                <c:pt idx="3">
                  <c:v>10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7.19999999999999"/>
          <c:min val="6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4</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117</c:v>
                </c:pt>
                <c:pt idx="3">
                  <c:v>11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2</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4</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7</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3</c:v>
                </c:pt>
                <c:pt idx="2">
                  <c:v>196</c:v>
                </c:pt>
                <c:pt idx="3">
                  <c:v>17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16</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3</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14</c:v>
                </c:pt>
                <c:pt idx="3">
                  <c:v>11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83</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5.2"/>
          <c:min val="5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109</c:v>
                </c:pt>
                <c:pt idx="3">
                  <c:v>11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9</c:v>
                </c:pt>
                <c:pt idx="3">
                  <c:v>10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5</c:v>
                </c:pt>
                <c:pt idx="3">
                  <c:v>11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7</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9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3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2950</c:v>
                </c:pt>
                <c:pt idx="1">
                  <c:v>27982</c:v>
                </c:pt>
                <c:pt idx="2">
                  <c:v>80576</c:v>
                </c:pt>
                <c:pt idx="3">
                  <c:v>74057</c:v>
                </c:pt>
                <c:pt idx="4">
                  <c:v>93495</c:v>
                </c:pt>
                <c:pt idx="5">
                  <c:v>27009</c:v>
                </c:pt>
                <c:pt idx="6">
                  <c:v>25275</c:v>
                </c:pt>
                <c:pt idx="7">
                  <c:v>37531</c:v>
                </c:pt>
                <c:pt idx="8">
                  <c:v>56139</c:v>
                </c:pt>
                <c:pt idx="9">
                  <c:v>42541</c:v>
                </c:pt>
                <c:pt idx="10">
                  <c:v>37037</c:v>
                </c:pt>
                <c:pt idx="11">
                  <c:v>42051</c:v>
                </c:pt>
                <c:pt idx="12">
                  <c:v>50399</c:v>
                </c:pt>
                <c:pt idx="13">
                  <c:v>30335</c:v>
                </c:pt>
                <c:pt idx="14">
                  <c:v>67639</c:v>
                </c:pt>
                <c:pt idx="15">
                  <c:v>80161</c:v>
                </c:pt>
                <c:pt idx="16">
                  <c:v>105159</c:v>
                </c:pt>
                <c:pt idx="17">
                  <c:v>14492</c:v>
                </c:pt>
                <c:pt idx="18">
                  <c:v>9452</c:v>
                </c:pt>
                <c:pt idx="19">
                  <c:v>8044</c:v>
                </c:pt>
                <c:pt idx="20">
                  <c:v>26176</c:v>
                </c:pt>
                <c:pt idx="21">
                  <c:v>14452</c:v>
                </c:pt>
                <c:pt idx="22">
                  <c:v>12052</c:v>
                </c:pt>
                <c:pt idx="23">
                  <c:v>11696</c:v>
                </c:pt>
                <c:pt idx="24">
                  <c:v>987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4</c:v>
                </c:pt>
                <c:pt idx="1">
                  <c:v>2.14</c:v>
                </c:pt>
                <c:pt idx="2">
                  <c:v>1.14</c:v>
                </c:pt>
                <c:pt idx="3">
                  <c:v>1.11</c:v>
                </c:pt>
                <c:pt idx="4">
                  <c:v>1.02</c:v>
                </c:pt>
                <c:pt idx="5">
                  <c:v>1.41</c:v>
                </c:pt>
                <c:pt idx="6">
                  <c:v>1.91</c:v>
                </c:pt>
                <c:pt idx="7">
                  <c:v>1.88</c:v>
                </c:pt>
                <c:pt idx="8">
                  <c:v>1.86</c:v>
                </c:pt>
                <c:pt idx="9">
                  <c:v>1.82</c:v>
                </c:pt>
                <c:pt idx="10">
                  <c:v>2.02</c:v>
                </c:pt>
                <c:pt idx="11">
                  <c:v>2.0</c:v>
                </c:pt>
                <c:pt idx="12">
                  <c:v>1.95</c:v>
                </c:pt>
                <c:pt idx="13">
                  <c:v>2.04</c:v>
                </c:pt>
                <c:pt idx="14">
                  <c:v>1.27</c:v>
                </c:pt>
                <c:pt idx="15">
                  <c:v>1.17</c:v>
                </c:pt>
                <c:pt idx="16">
                  <c:v>1.0</c:v>
                </c:pt>
                <c:pt idx="17">
                  <c:v>1.16</c:v>
                </c:pt>
                <c:pt idx="18">
                  <c:v>1.46</c:v>
                </c:pt>
                <c:pt idx="19">
                  <c:v>1.61</c:v>
                </c:pt>
                <c:pt idx="20">
                  <c:v>1.62</c:v>
                </c:pt>
                <c:pt idx="21">
                  <c:v>1.63</c:v>
                </c:pt>
                <c:pt idx="22">
                  <c:v>1.61</c:v>
                </c:pt>
                <c:pt idx="23">
                  <c:v>1.63</c:v>
                </c:pt>
                <c:pt idx="24">
                  <c:v>1.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3</c:v>
                </c:pt>
                <c:pt idx="3">
                  <c:v>14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9</c:v>
                </c:pt>
                <c:pt idx="3">
                  <c:v>11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5</c:v>
                </c:pt>
                <c:pt idx="2">
                  <c:v>114</c:v>
                </c:pt>
                <c:pt idx="3">
                  <c:v>10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5</c:v>
                </c:pt>
                <c:pt idx="3">
                  <c:v>8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59</c:v>
                </c:pt>
                <c:pt idx="3">
                  <c:v>3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2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3</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3</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100</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9</c:v>
                </c:pt>
                <c:pt idx="3">
                  <c:v>10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114</c:v>
                </c:pt>
                <c:pt idx="3">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98</c:v>
                </c:pt>
                <c:pt idx="3">
                  <c:v>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100</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101</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2</c:v>
                </c:pt>
                <c:pt idx="3">
                  <c:v>8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9</c:v>
                </c:pt>
                <c:pt idx="3">
                  <c:v>10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13</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9</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6</c:v>
                </c:pt>
                <c:pt idx="3">
                  <c:v>9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89</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20</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9</c:v>
                </c:pt>
                <c:pt idx="3">
                  <c:v>12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5</c:v>
                </c:pt>
                <c:pt idx="2">
                  <c:v>194</c:v>
                </c:pt>
                <c:pt idx="3">
                  <c:v>17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10</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1</c:v>
                </c:pt>
                <c:pt idx="3">
                  <c:v>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9</c:v>
                </c:pt>
                <c:pt idx="2">
                  <c:v>125</c:v>
                </c:pt>
                <c:pt idx="3">
                  <c:v>12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61</c:v>
                </c:pt>
                <c:pt idx="3">
                  <c:v>5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2.79999999999998"/>
          <c:min val="44.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110</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7</c:v>
                </c:pt>
                <c:pt idx="3">
                  <c:v>10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6</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08</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1</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3</c:v>
                </c:pt>
                <c:pt idx="3">
                  <c:v>11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102</c:v>
                </c:pt>
                <c:pt idx="3">
                  <c:v>7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7</c:v>
                </c:pt>
                <c:pt idx="3">
                  <c:v>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8</c:v>
                </c:pt>
                <c:pt idx="3">
                  <c:v>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4.0"/>
          <c:min val="5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2</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8</c:v>
                </c:pt>
                <c:pt idx="3">
                  <c:v>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93</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90</c:v>
                </c:pt>
                <c:pt idx="3">
                  <c:v>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0</c:v>
                </c:pt>
                <c:pt idx="3">
                  <c:v>11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22</c:v>
                </c:pt>
                <c:pt idx="3">
                  <c:v>13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0</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101</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4</c:v>
                </c:pt>
                <c:pt idx="3">
                  <c:v>8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96</c:v>
                </c:pt>
                <c:pt idx="3">
                  <c:v>10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14</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20</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7</c:v>
                </c:pt>
                <c:pt idx="3">
                  <c:v>9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88</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3</c:v>
                </c:pt>
                <c:pt idx="2">
                  <c:v>121</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17</c:v>
                </c:pt>
                <c:pt idx="3">
                  <c:v>12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7</c:v>
                </c:pt>
                <c:pt idx="3">
                  <c:v>8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5</c:v>
                </c:pt>
                <c:pt idx="3">
                  <c:v>11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1</c:v>
                </c:pt>
                <c:pt idx="3">
                  <c:v>11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3</c:v>
                </c:pt>
                <c:pt idx="2">
                  <c:v>65</c:v>
                </c:pt>
                <c:pt idx="3">
                  <c:v>5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0.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4</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8</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22</c:v>
                </c:pt>
                <c:pt idx="3">
                  <c:v>13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4</c:v>
                </c:pt>
                <c:pt idx="2">
                  <c:v>126</c:v>
                </c:pt>
                <c:pt idx="3">
                  <c:v>12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7.2"/>
          <c:min val="7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33,9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9,4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75,5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33940</c:v>
                </c:pt>
                <c:pt idx="1">
                  <c:v>901389</c:v>
                </c:pt>
                <c:pt idx="2">
                  <c:v>884131</c:v>
                </c:pt>
                <c:pt idx="3">
                  <c:v>799722</c:v>
                </c:pt>
                <c:pt idx="4">
                  <c:v>938954</c:v>
                </c:pt>
                <c:pt idx="5">
                  <c:v>809316</c:v>
                </c:pt>
                <c:pt idx="6">
                  <c:v>748786</c:v>
                </c:pt>
                <c:pt idx="7">
                  <c:v>845759</c:v>
                </c:pt>
                <c:pt idx="8">
                  <c:v>854269</c:v>
                </c:pt>
                <c:pt idx="9">
                  <c:v>931409</c:v>
                </c:pt>
                <c:pt idx="10">
                  <c:v>988551</c:v>
                </c:pt>
                <c:pt idx="11">
                  <c:v>1076912</c:v>
                </c:pt>
                <c:pt idx="12">
                  <c:v>1071374</c:v>
                </c:pt>
                <c:pt idx="13">
                  <c:v>859412</c:v>
                </c:pt>
                <c:pt idx="14">
                  <c:v>823805</c:v>
                </c:pt>
                <c:pt idx="15">
                  <c:v>748217</c:v>
                </c:pt>
                <c:pt idx="16">
                  <c:v>873913</c:v>
                </c:pt>
                <c:pt idx="17">
                  <c:v>749930</c:v>
                </c:pt>
                <c:pt idx="18">
                  <c:v>737109</c:v>
                </c:pt>
                <c:pt idx="19">
                  <c:v>822947</c:v>
                </c:pt>
                <c:pt idx="20">
                  <c:v>792318</c:v>
                </c:pt>
                <c:pt idx="21">
                  <c:v>870037</c:v>
                </c:pt>
                <c:pt idx="22">
                  <c:v>962285</c:v>
                </c:pt>
                <c:pt idx="23">
                  <c:v>992585</c:v>
                </c:pt>
                <c:pt idx="24">
                  <c:v>9755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9</c:v>
                </c:pt>
                <c:pt idx="1">
                  <c:v>3.2</c:v>
                </c:pt>
                <c:pt idx="2">
                  <c:v>3.2</c:v>
                </c:pt>
                <c:pt idx="3">
                  <c:v>3.22</c:v>
                </c:pt>
                <c:pt idx="4">
                  <c:v>3.24</c:v>
                </c:pt>
                <c:pt idx="5">
                  <c:v>3.08</c:v>
                </c:pt>
                <c:pt idx="6">
                  <c:v>3.1</c:v>
                </c:pt>
                <c:pt idx="7">
                  <c:v>3.14</c:v>
                </c:pt>
                <c:pt idx="8">
                  <c:v>3.2</c:v>
                </c:pt>
                <c:pt idx="9">
                  <c:v>3.23</c:v>
                </c:pt>
                <c:pt idx="10">
                  <c:v>3.21</c:v>
                </c:pt>
                <c:pt idx="11">
                  <c:v>3.19</c:v>
                </c:pt>
                <c:pt idx="12">
                  <c:v>3.16</c:v>
                </c:pt>
                <c:pt idx="13">
                  <c:v>3.18</c:v>
                </c:pt>
                <c:pt idx="14">
                  <c:v>3.17</c:v>
                </c:pt>
                <c:pt idx="15">
                  <c:v>3.17</c:v>
                </c:pt>
                <c:pt idx="16">
                  <c:v>3.16</c:v>
                </c:pt>
                <c:pt idx="17">
                  <c:v>3.03</c:v>
                </c:pt>
                <c:pt idx="18">
                  <c:v>3.1</c:v>
                </c:pt>
                <c:pt idx="19">
                  <c:v>3.13</c:v>
                </c:pt>
                <c:pt idx="20">
                  <c:v>3.14</c:v>
                </c:pt>
                <c:pt idx="21">
                  <c:v>3.11</c:v>
                </c:pt>
                <c:pt idx="22">
                  <c:v>3.11</c:v>
                </c:pt>
                <c:pt idx="23">
                  <c:v>3.11</c:v>
                </c:pt>
                <c:pt idx="24">
                  <c:v>3.1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19</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98</c:v>
                </c:pt>
                <c:pt idx="3">
                  <c:v>10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3</c:v>
                </c:pt>
                <c:pt idx="2">
                  <c:v>76</c:v>
                </c:pt>
                <c:pt idx="3">
                  <c:v>6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7</c:v>
                </c:pt>
                <c:pt idx="3">
                  <c:v>7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78</c:v>
                </c:pt>
                <c:pt idx="3">
                  <c:v>6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04</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0</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25</c:v>
                </c:pt>
                <c:pt idx="3">
                  <c:v>12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4</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7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84</c:v>
                </c:pt>
                <c:pt idx="3">
                  <c:v>8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13</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ais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8</c:v>
                </c:pt>
                <c:pt idx="2">
                  <c:v>73</c:v>
                </c:pt>
                <c:pt idx="3">
                  <c:v>6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Gillette Venu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94</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ydro Silk</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9</c:v>
                </c:pt>
                <c:pt idx="3">
                  <c:v>14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2</c:v>
                </c:pt>
                <c:pt idx="3">
                  <c:v>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05</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109</c:v>
                </c:pt>
                <c:pt idx="3">
                  <c:v>11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ais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17</c:v>
                </c:pt>
                <c:pt idx="3">
                  <c:v>11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Gillette Venu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2</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ydro Silk</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09</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6</c:v>
                </c:pt>
                <c:pt idx="2">
                  <c:v>196</c:v>
                </c:pt>
                <c:pt idx="3">
                  <c:v>17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94</c:v>
                </c:pt>
                <c:pt idx="2">
                  <c:v>425</c:v>
                </c:pt>
                <c:pt idx="3">
                  <c:v>5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3</c:v>
                </c:pt>
                <c:pt idx="3">
                  <c:v>9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4</c:v>
                </c:pt>
                <c:pt idx="2">
                  <c:v>114</c:v>
                </c:pt>
                <c:pt idx="3">
                  <c:v>1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82</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03.1999999999999"/>
          <c:min val="5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97</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12</c:v>
                </c:pt>
                <c:pt idx="3">
                  <c:v>11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6</c:v>
                </c:pt>
                <c:pt idx="3">
                  <c:v>11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7</c:v>
                </c:pt>
                <c:pt idx="3">
                  <c:v>9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8</c:v>
                </c:pt>
                <c:pt idx="3">
                  <c:v>6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3</c:v>
                </c:pt>
                <c:pt idx="2">
                  <c:v>118</c:v>
                </c:pt>
                <c:pt idx="3">
                  <c:v>13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37</c:v>
                </c:pt>
                <c:pt idx="3">
                  <c:v>13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4</c:v>
                </c:pt>
                <c:pt idx="2">
                  <c:v>19863</c:v>
                </c:pt>
                <c:pt idx="3">
                  <c:v>229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69</c:v>
                </c:pt>
                <c:pt idx="3">
                  <c:v>4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83.2"/>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9</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86</c:v>
                </c:pt>
                <c:pt idx="3">
                  <c:v>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10</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7</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8</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5</c:v>
                </c:pt>
                <c:pt idx="3">
                  <c:v>7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76</c:v>
                </c:pt>
                <c:pt idx="3">
                  <c:v>6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8</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10</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4</c:v>
                </c:pt>
                <c:pt idx="2">
                  <c:v>36</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21514</c:v>
                </c:pt>
                <c:pt idx="2">
                  <c:v>996888</c:v>
                </c:pt>
                <c:pt idx="3">
                  <c:v>85848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7</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58</c:v>
                </c:pt>
                <c:pt idx="2">
                  <c:v>162</c:v>
                </c:pt>
                <c:pt idx="3">
                  <c:v>1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96265.5999999999"/>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7</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2</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5</c:v>
                </c:pt>
                <c:pt idx="3">
                  <c:v>10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2</c:v>
                </c:pt>
                <c:pt idx="2">
                  <c:v>70</c:v>
                </c:pt>
                <c:pt idx="3">
                  <c:v>5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7</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2</c:v>
                </c:pt>
                <c:pt idx="3">
                  <c:v>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80</c:v>
                </c:pt>
                <c:pt idx="3">
                  <c:v>8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4.8"/>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09</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22</c:v>
                </c:pt>
                <c:pt idx="3">
                  <c:v>12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21</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3</c:v>
                </c:pt>
                <c:pt idx="3">
                  <c:v>9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1,9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4,1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73,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1984</c:v>
                </c:pt>
                <c:pt idx="1">
                  <c:v>227090</c:v>
                </c:pt>
                <c:pt idx="2">
                  <c:v>232947</c:v>
                </c:pt>
                <c:pt idx="3">
                  <c:v>239086</c:v>
                </c:pt>
                <c:pt idx="4">
                  <c:v>291898</c:v>
                </c:pt>
                <c:pt idx="5">
                  <c:v>225983</c:v>
                </c:pt>
                <c:pt idx="6">
                  <c:v>219788</c:v>
                </c:pt>
                <c:pt idx="7">
                  <c:v>269427</c:v>
                </c:pt>
                <c:pt idx="8">
                  <c:v>265461</c:v>
                </c:pt>
                <c:pt idx="9">
                  <c:v>275843</c:v>
                </c:pt>
                <c:pt idx="10">
                  <c:v>278046</c:v>
                </c:pt>
                <c:pt idx="11">
                  <c:v>281975</c:v>
                </c:pt>
                <c:pt idx="12">
                  <c:v>267358</c:v>
                </c:pt>
                <c:pt idx="13">
                  <c:v>234166</c:v>
                </c:pt>
                <c:pt idx="14">
                  <c:v>224869</c:v>
                </c:pt>
                <c:pt idx="15">
                  <c:v>219414</c:v>
                </c:pt>
                <c:pt idx="16">
                  <c:v>285947</c:v>
                </c:pt>
                <c:pt idx="17">
                  <c:v>220288</c:v>
                </c:pt>
                <c:pt idx="18">
                  <c:v>225575</c:v>
                </c:pt>
                <c:pt idx="19">
                  <c:v>277167</c:v>
                </c:pt>
                <c:pt idx="20">
                  <c:v>266686</c:v>
                </c:pt>
                <c:pt idx="21">
                  <c:v>279355</c:v>
                </c:pt>
                <c:pt idx="22">
                  <c:v>308585</c:v>
                </c:pt>
                <c:pt idx="23">
                  <c:v>300710</c:v>
                </c:pt>
                <c:pt idx="24">
                  <c:v>2734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28</c:v>
                </c:pt>
                <c:pt idx="1">
                  <c:v>5.29</c:v>
                </c:pt>
                <c:pt idx="2">
                  <c:v>5.0</c:v>
                </c:pt>
                <c:pt idx="3">
                  <c:v>4.45</c:v>
                </c:pt>
                <c:pt idx="4">
                  <c:v>3.16</c:v>
                </c:pt>
                <c:pt idx="5">
                  <c:v>4.51</c:v>
                </c:pt>
                <c:pt idx="6">
                  <c:v>5.16</c:v>
                </c:pt>
                <c:pt idx="7">
                  <c:v>5.17</c:v>
                </c:pt>
                <c:pt idx="8">
                  <c:v>5.15</c:v>
                </c:pt>
                <c:pt idx="9">
                  <c:v>5.18</c:v>
                </c:pt>
                <c:pt idx="10">
                  <c:v>5.19</c:v>
                </c:pt>
                <c:pt idx="11">
                  <c:v>5.1</c:v>
                </c:pt>
                <c:pt idx="12">
                  <c:v>5.11</c:v>
                </c:pt>
                <c:pt idx="13">
                  <c:v>5.12</c:v>
                </c:pt>
                <c:pt idx="14">
                  <c:v>5.07</c:v>
                </c:pt>
                <c:pt idx="15">
                  <c:v>5.04</c:v>
                </c:pt>
                <c:pt idx="16">
                  <c:v>4.0</c:v>
                </c:pt>
                <c:pt idx="17">
                  <c:v>5.01</c:v>
                </c:pt>
                <c:pt idx="18">
                  <c:v>4.96</c:v>
                </c:pt>
                <c:pt idx="19">
                  <c:v>4.88</c:v>
                </c:pt>
                <c:pt idx="20">
                  <c:v>4.82</c:v>
                </c:pt>
                <c:pt idx="21">
                  <c:v>4.88</c:v>
                </c:pt>
                <c:pt idx="22">
                  <c:v>5.04</c:v>
                </c:pt>
                <c:pt idx="23">
                  <c:v>4.94</c:v>
                </c:pt>
                <c:pt idx="24">
                  <c:v>4.8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9</c:v>
                </c:pt>
                <c:pt idx="2">
                  <c:v>194</c:v>
                </c:pt>
                <c:pt idx="3">
                  <c:v>1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89</c:v>
                </c:pt>
                <c:pt idx="3">
                  <c:v>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8</c:v>
                </c:pt>
                <c:pt idx="3">
                  <c:v>12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6</c:v>
                </c:pt>
                <c:pt idx="2">
                  <c:v>61</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80</c:v>
                </c:pt>
                <c:pt idx="3">
                  <c:v>5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2.79999999999998"/>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95</c:v>
                </c:pt>
                <c:pt idx="3">
                  <c:v>9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12</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17</c:v>
                </c:pt>
                <c:pt idx="3">
                  <c:v>11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08</c:v>
                </c:pt>
                <c:pt idx="3">
                  <c:v>10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2</c:v>
                </c:pt>
                <c:pt idx="2">
                  <c:v>123</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8</c:v>
                </c:pt>
                <c:pt idx="3">
                  <c:v>6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3</c:v>
                </c:pt>
                <c:pt idx="2">
                  <c:v>118</c:v>
                </c:pt>
                <c:pt idx="3">
                  <c:v>13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37</c:v>
                </c:pt>
                <c:pt idx="3">
                  <c:v>13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4</c:v>
                </c:pt>
                <c:pt idx="2">
                  <c:v>19863</c:v>
                </c:pt>
                <c:pt idx="3">
                  <c:v>229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69</c:v>
                </c:pt>
                <c:pt idx="3">
                  <c:v>4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83.2"/>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9</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86</c:v>
                </c:pt>
                <c:pt idx="3">
                  <c:v>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10</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7</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8</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5</c:v>
                </c:pt>
                <c:pt idx="3">
                  <c:v>7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76</c:v>
                </c:pt>
                <c:pt idx="3">
                  <c:v>6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8</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10</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2.0"/>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7</c:v>
                </c:pt>
                <c:pt idx="2">
                  <c:v>36</c:v>
                </c:pt>
                <c:pt idx="3">
                  <c:v>3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85239</c:v>
                </c:pt>
                <c:pt idx="2">
                  <c:v>816660</c:v>
                </c:pt>
                <c:pt idx="3">
                  <c:v>68573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54</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62</c:v>
                </c:pt>
                <c:pt idx="2">
                  <c:v>261</c:v>
                </c:pt>
                <c:pt idx="3">
                  <c:v>21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79992.0"/>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8</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49,1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5,0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6,6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49195</c:v>
                </c:pt>
                <c:pt idx="1">
                  <c:v>324849</c:v>
                </c:pt>
                <c:pt idx="2">
                  <c:v>317129</c:v>
                </c:pt>
                <c:pt idx="3">
                  <c:v>287326</c:v>
                </c:pt>
                <c:pt idx="4">
                  <c:v>292472</c:v>
                </c:pt>
                <c:pt idx="5">
                  <c:v>336307</c:v>
                </c:pt>
                <c:pt idx="6">
                  <c:v>293487</c:v>
                </c:pt>
                <c:pt idx="7">
                  <c:v>327470</c:v>
                </c:pt>
                <c:pt idx="8">
                  <c:v>312666</c:v>
                </c:pt>
                <c:pt idx="9">
                  <c:v>334555</c:v>
                </c:pt>
                <c:pt idx="10">
                  <c:v>336225</c:v>
                </c:pt>
                <c:pt idx="11">
                  <c:v>357380</c:v>
                </c:pt>
                <c:pt idx="12">
                  <c:v>343714</c:v>
                </c:pt>
                <c:pt idx="13">
                  <c:v>315093</c:v>
                </c:pt>
                <c:pt idx="14">
                  <c:v>304009</c:v>
                </c:pt>
                <c:pt idx="15">
                  <c:v>280614</c:v>
                </c:pt>
                <c:pt idx="16">
                  <c:v>279126</c:v>
                </c:pt>
                <c:pt idx="17">
                  <c:v>294485</c:v>
                </c:pt>
                <c:pt idx="18">
                  <c:v>286369</c:v>
                </c:pt>
                <c:pt idx="19">
                  <c:v>315388</c:v>
                </c:pt>
                <c:pt idx="20">
                  <c:v>310746</c:v>
                </c:pt>
                <c:pt idx="21">
                  <c:v>332443</c:v>
                </c:pt>
                <c:pt idx="22">
                  <c:v>343477</c:v>
                </c:pt>
                <c:pt idx="23">
                  <c:v>335739</c:v>
                </c:pt>
                <c:pt idx="24">
                  <c:v>3266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c:v>
                </c:pt>
                <c:pt idx="1">
                  <c:v>3.3</c:v>
                </c:pt>
                <c:pt idx="2">
                  <c:v>3.31</c:v>
                </c:pt>
                <c:pt idx="3">
                  <c:v>3.3</c:v>
                </c:pt>
                <c:pt idx="4">
                  <c:v>3.31</c:v>
                </c:pt>
                <c:pt idx="5">
                  <c:v>2.89</c:v>
                </c:pt>
                <c:pt idx="6">
                  <c:v>2.94</c:v>
                </c:pt>
                <c:pt idx="7">
                  <c:v>3.04</c:v>
                </c:pt>
                <c:pt idx="8">
                  <c:v>3.08</c:v>
                </c:pt>
                <c:pt idx="9">
                  <c:v>3.12</c:v>
                </c:pt>
                <c:pt idx="10">
                  <c:v>3.09</c:v>
                </c:pt>
                <c:pt idx="11">
                  <c:v>3.08</c:v>
                </c:pt>
                <c:pt idx="12">
                  <c:v>3.03</c:v>
                </c:pt>
                <c:pt idx="13">
                  <c:v>3.06</c:v>
                </c:pt>
                <c:pt idx="14">
                  <c:v>3.06</c:v>
                </c:pt>
                <c:pt idx="15">
                  <c:v>3.05</c:v>
                </c:pt>
                <c:pt idx="16">
                  <c:v>3.04</c:v>
                </c:pt>
                <c:pt idx="17">
                  <c:v>3.03</c:v>
                </c:pt>
                <c:pt idx="18">
                  <c:v>3.02</c:v>
                </c:pt>
                <c:pt idx="19">
                  <c:v>3.02</c:v>
                </c:pt>
                <c:pt idx="20">
                  <c:v>3.0</c:v>
                </c:pt>
                <c:pt idx="21">
                  <c:v>2.99</c:v>
                </c:pt>
                <c:pt idx="22">
                  <c:v>3.0</c:v>
                </c:pt>
                <c:pt idx="23">
                  <c:v>2.99</c:v>
                </c:pt>
                <c:pt idx="24">
                  <c:v>3.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81</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4</c:v>
                </c:pt>
                <c:pt idx="3">
                  <c:v>9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0</c:v>
                </c:pt>
                <c:pt idx="3">
                  <c:v>1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2</c:v>
                </c:pt>
                <c:pt idx="3">
                  <c:v>12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1</c:v>
                </c:pt>
                <c:pt idx="2">
                  <c:v>48</c:v>
                </c:pt>
                <c:pt idx="3">
                  <c:v>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8.79999999999998"/>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11</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2</c:v>
                </c:pt>
                <c:pt idx="3">
                  <c:v>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13</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91</c:v>
                </c:pt>
                <c:pt idx="3">
                  <c:v>9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7</c:v>
                </c:pt>
                <c:pt idx="3">
                  <c:v>14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5</c:v>
                </c:pt>
                <c:pt idx="2">
                  <c:v>134</c:v>
                </c:pt>
                <c:pt idx="3">
                  <c:v>13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0.4"/>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99</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3</c:v>
                </c:pt>
                <c:pt idx="2">
                  <c:v>74</c:v>
                </c:pt>
                <c:pt idx="3">
                  <c:v>5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86</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7</c:v>
                </c:pt>
                <c:pt idx="3">
                  <c:v>9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7</c:v>
                </c:pt>
                <c:pt idx="3">
                  <c:v>10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2.0"/>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4</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10</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27</c:v>
                </c:pt>
                <c:pt idx="3">
                  <c:v>13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1</c:v>
                </c:pt>
                <c:pt idx="3">
                  <c:v>1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2</c:v>
                </c:pt>
                <c:pt idx="3">
                  <c:v>9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6</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2.0"/>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6</c:v>
                </c:pt>
                <c:pt idx="2">
                  <c:v>48</c:v>
                </c:pt>
                <c:pt idx="3">
                  <c:v>4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57</c:v>
                </c:pt>
                <c:pt idx="3">
                  <c:v>5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24</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c:v>
                </c:pt>
                <c:pt idx="2">
                  <c:v>23</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081</c:v>
                </c:pt>
                <c:pt idx="2">
                  <c:v>1956</c:v>
                </c:pt>
                <c:pt idx="3">
                  <c:v>20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7</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c:v>
                </c:pt>
                <c:pt idx="2">
                  <c:v>86</c:v>
                </c:pt>
                <c:pt idx="3">
                  <c:v>9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76</c:v>
                </c:pt>
                <c:pt idx="3">
                  <c:v>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2</c:v>
                </c:pt>
                <c:pt idx="3">
                  <c:v>7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92</c:v>
                </c:pt>
                <c:pt idx="3">
                  <c:v>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609</c:v>
                </c:pt>
                <c:pt idx="3">
                  <c:v>71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55.6"/>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06</c:v>
                </c:pt>
                <c:pt idx="3">
                  <c:v>1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3</c:v>
                </c:pt>
                <c:pt idx="2">
                  <c:v>116</c:v>
                </c:pt>
                <c:pt idx="3">
                  <c:v>11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16</c:v>
                </c:pt>
                <c:pt idx="3">
                  <c:v>12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2</c:v>
                </c:pt>
                <c:pt idx="3">
                  <c:v>11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1,3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5,5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4,8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1394</c:v>
                </c:pt>
                <c:pt idx="1">
                  <c:v>196436</c:v>
                </c:pt>
                <c:pt idx="2">
                  <c:v>515569</c:v>
                </c:pt>
                <c:pt idx="3">
                  <c:v>500906</c:v>
                </c:pt>
                <c:pt idx="4">
                  <c:v>525539</c:v>
                </c:pt>
                <c:pt idx="5">
                  <c:v>189979</c:v>
                </c:pt>
                <c:pt idx="6">
                  <c:v>195406</c:v>
                </c:pt>
                <c:pt idx="7">
                  <c:v>272557</c:v>
                </c:pt>
                <c:pt idx="8">
                  <c:v>321772</c:v>
                </c:pt>
                <c:pt idx="9">
                  <c:v>296968</c:v>
                </c:pt>
                <c:pt idx="10">
                  <c:v>266109</c:v>
                </c:pt>
                <c:pt idx="11">
                  <c:v>292973</c:v>
                </c:pt>
                <c:pt idx="12">
                  <c:v>358958</c:v>
                </c:pt>
                <c:pt idx="13">
                  <c:v>215504</c:v>
                </c:pt>
                <c:pt idx="14">
                  <c:v>555050</c:v>
                </c:pt>
                <c:pt idx="15">
                  <c:v>626511</c:v>
                </c:pt>
                <c:pt idx="16">
                  <c:v>618785</c:v>
                </c:pt>
                <c:pt idx="17">
                  <c:v>103069</c:v>
                </c:pt>
                <c:pt idx="18">
                  <c:v>72454</c:v>
                </c:pt>
                <c:pt idx="19">
                  <c:v>66537</c:v>
                </c:pt>
                <c:pt idx="20">
                  <c:v>156721</c:v>
                </c:pt>
                <c:pt idx="21">
                  <c:v>97271</c:v>
                </c:pt>
                <c:pt idx="22">
                  <c:v>80357</c:v>
                </c:pt>
                <c:pt idx="23">
                  <c:v>77796</c:v>
                </c:pt>
                <c:pt idx="24">
                  <c:v>648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3</c:v>
                </c:pt>
                <c:pt idx="1">
                  <c:v>2.15</c:v>
                </c:pt>
                <c:pt idx="2">
                  <c:v>1.14</c:v>
                </c:pt>
                <c:pt idx="3">
                  <c:v>1.12</c:v>
                </c:pt>
                <c:pt idx="4">
                  <c:v>1.07</c:v>
                </c:pt>
                <c:pt idx="5">
                  <c:v>1.62</c:v>
                </c:pt>
                <c:pt idx="6">
                  <c:v>1.94</c:v>
                </c:pt>
                <c:pt idx="7">
                  <c:v>1.87</c:v>
                </c:pt>
                <c:pt idx="8">
                  <c:v>1.9</c:v>
                </c:pt>
                <c:pt idx="9">
                  <c:v>1.93</c:v>
                </c:pt>
                <c:pt idx="10">
                  <c:v>1.98</c:v>
                </c:pt>
                <c:pt idx="11">
                  <c:v>1.98</c:v>
                </c:pt>
                <c:pt idx="12">
                  <c:v>1.94</c:v>
                </c:pt>
                <c:pt idx="13">
                  <c:v>2.02</c:v>
                </c:pt>
                <c:pt idx="14">
                  <c:v>1.21</c:v>
                </c:pt>
                <c:pt idx="15">
                  <c:v>1.15</c:v>
                </c:pt>
                <c:pt idx="16">
                  <c:v>1.04</c:v>
                </c:pt>
                <c:pt idx="17">
                  <c:v>1.13</c:v>
                </c:pt>
                <c:pt idx="18">
                  <c:v>1.5</c:v>
                </c:pt>
                <c:pt idx="19">
                  <c:v>1.58</c:v>
                </c:pt>
                <c:pt idx="20">
                  <c:v>1.61</c:v>
                </c:pt>
                <c:pt idx="21">
                  <c:v>1.6</c:v>
                </c:pt>
                <c:pt idx="22">
                  <c:v>1.6</c:v>
                </c:pt>
                <c:pt idx="23">
                  <c:v>1.61</c:v>
                </c:pt>
                <c:pt idx="24">
                  <c:v>1.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84</c:v>
                </c:pt>
                <c:pt idx="3">
                  <c:v>9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06</c:v>
                </c:pt>
                <c:pt idx="3">
                  <c:v>9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8</c:v>
                </c:pt>
                <c:pt idx="3">
                  <c:v>11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08</c:v>
                </c:pt>
                <c:pt idx="3">
                  <c:v>12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6</c:v>
                </c:pt>
                <c:pt idx="2">
                  <c:v>51</c:v>
                </c:pt>
                <c:pt idx="3">
                  <c:v>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5.2"/>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2</c:v>
                </c:pt>
                <c:pt idx="3">
                  <c:v>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14</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3</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26</c:v>
                </c:pt>
                <c:pt idx="3">
                  <c:v>13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4</c:v>
                </c:pt>
                <c:pt idx="2">
                  <c:v>131</c:v>
                </c:pt>
                <c:pt idx="3">
                  <c:v>13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5.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5</c:v>
                </c:pt>
                <c:pt idx="3">
                  <c:v>10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69</c:v>
                </c:pt>
                <c:pt idx="3">
                  <c:v>5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87</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1</c:v>
                </c:pt>
                <c:pt idx="3">
                  <c:v>8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5</c:v>
                </c:pt>
                <c:pt idx="2">
                  <c:v>75</c:v>
                </c:pt>
                <c:pt idx="3">
                  <c:v>7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4.8"/>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09</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21</c:v>
                </c:pt>
                <c:pt idx="3">
                  <c:v>12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3</c:v>
                </c:pt>
                <c:pt idx="2">
                  <c:v>122</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92</c:v>
                </c:pt>
                <c:pt idx="3">
                  <c:v>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c:v>
                </c:pt>
                <c:pt idx="2">
                  <c:v>46</c:v>
                </c:pt>
                <c:pt idx="3">
                  <c:v>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30</c:v>
                </c:pt>
                <c:pt idx="3">
                  <c:v>13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9</c:v>
                </c:pt>
                <c:pt idx="2">
                  <c:v>49</c:v>
                </c:pt>
                <c:pt idx="3">
                  <c:v>5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101</c:v>
                </c:pt>
                <c:pt idx="3">
                  <c:v>9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3</c:v>
                </c:pt>
                <c:pt idx="2">
                  <c:v>86</c:v>
                </c:pt>
                <c:pt idx="3">
                  <c:v>7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4.4"/>
          <c:min val="3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5</c:v>
                </c:pt>
                <c:pt idx="2">
                  <c:v>100</c:v>
                </c:pt>
                <c:pt idx="3">
                  <c:v>1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79</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104</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1</c:v>
                </c:pt>
                <c:pt idx="2">
                  <c:v>166</c:v>
                </c:pt>
                <c:pt idx="3">
                  <c:v>16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7</c:v>
                </c:pt>
                <c:pt idx="2">
                  <c:v>150</c:v>
                </c:pt>
                <c:pt idx="3">
                  <c:v>12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17</c:v>
                </c:pt>
                <c:pt idx="3">
                  <c:v>10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0.4"/>
          <c:min val="6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5</c:v>
                </c:pt>
                <c:pt idx="2">
                  <c:v>182</c:v>
                </c:pt>
                <c:pt idx="3">
                  <c:v>3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6</c:v>
                </c:pt>
                <c:pt idx="2">
                  <c:v>134</c:v>
                </c:pt>
                <c:pt idx="3">
                  <c:v>13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01</c:v>
                </c:pt>
                <c:pt idx="3">
                  <c:v>8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2</c:v>
                </c:pt>
                <c:pt idx="2">
                  <c:v>40</c:v>
                </c:pt>
                <c:pt idx="3">
                  <c:v>4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8</c:v>
                </c:pt>
                <c:pt idx="2">
                  <c:v>90</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7.59999999999997"/>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03</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2</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94</c:v>
                </c:pt>
                <c:pt idx="3">
                  <c:v>9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1</c:v>
                </c:pt>
                <c:pt idx="2">
                  <c:v>102</c:v>
                </c:pt>
                <c:pt idx="3">
                  <c:v>8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299,0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748,6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375,5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299074</c:v>
                </c:pt>
                <c:pt idx="1">
                  <c:v>4956703</c:v>
                </c:pt>
                <c:pt idx="2">
                  <c:v>4866488</c:v>
                </c:pt>
                <c:pt idx="3">
                  <c:v>5041196</c:v>
                </c:pt>
                <c:pt idx="4">
                  <c:v>6683495</c:v>
                </c:pt>
                <c:pt idx="5">
                  <c:v>4230062</c:v>
                </c:pt>
                <c:pt idx="6">
                  <c:v>4372087</c:v>
                </c:pt>
                <c:pt idx="7">
                  <c:v>5241407</c:v>
                </c:pt>
                <c:pt idx="8">
                  <c:v>5175471</c:v>
                </c:pt>
                <c:pt idx="9">
                  <c:v>5784112</c:v>
                </c:pt>
                <c:pt idx="10">
                  <c:v>5977357</c:v>
                </c:pt>
                <c:pt idx="11">
                  <c:v>6335112</c:v>
                </c:pt>
                <c:pt idx="12">
                  <c:v>5990894</c:v>
                </c:pt>
                <c:pt idx="13">
                  <c:v>4748635</c:v>
                </c:pt>
                <c:pt idx="14">
                  <c:v>4685867</c:v>
                </c:pt>
                <c:pt idx="15">
                  <c:v>5117303</c:v>
                </c:pt>
                <c:pt idx="16">
                  <c:v>8858012</c:v>
                </c:pt>
                <c:pt idx="17">
                  <c:v>4298513</c:v>
                </c:pt>
                <c:pt idx="18">
                  <c:v>5002854</c:v>
                </c:pt>
                <c:pt idx="19">
                  <c:v>5940861</c:v>
                </c:pt>
                <c:pt idx="20">
                  <c:v>5362156</c:v>
                </c:pt>
                <c:pt idx="21">
                  <c:v>5824008</c:v>
                </c:pt>
                <c:pt idx="22">
                  <c:v>6362214</c:v>
                </c:pt>
                <c:pt idx="23">
                  <c:v>6581903</c:v>
                </c:pt>
                <c:pt idx="24">
                  <c:v>63755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32</c:v>
                </c:pt>
                <c:pt idx="1">
                  <c:v>5.36</c:v>
                </c:pt>
                <c:pt idx="2">
                  <c:v>5.02</c:v>
                </c:pt>
                <c:pt idx="3">
                  <c:v>4.4</c:v>
                </c:pt>
                <c:pt idx="4">
                  <c:v>3.71</c:v>
                </c:pt>
                <c:pt idx="5">
                  <c:v>5.05</c:v>
                </c:pt>
                <c:pt idx="6">
                  <c:v>5.4</c:v>
                </c:pt>
                <c:pt idx="7">
                  <c:v>5.41</c:v>
                </c:pt>
                <c:pt idx="8">
                  <c:v>5.39</c:v>
                </c:pt>
                <c:pt idx="9">
                  <c:v>5.45</c:v>
                </c:pt>
                <c:pt idx="10">
                  <c:v>5.41</c:v>
                </c:pt>
                <c:pt idx="11">
                  <c:v>5.29</c:v>
                </c:pt>
                <c:pt idx="12">
                  <c:v>5.32</c:v>
                </c:pt>
                <c:pt idx="13">
                  <c:v>5.32</c:v>
                </c:pt>
                <c:pt idx="14">
                  <c:v>5.17</c:v>
                </c:pt>
                <c:pt idx="15">
                  <c:v>4.94</c:v>
                </c:pt>
                <c:pt idx="16">
                  <c:v>4.18</c:v>
                </c:pt>
                <c:pt idx="17">
                  <c:v>5.04</c:v>
                </c:pt>
                <c:pt idx="18">
                  <c:v>5.1</c:v>
                </c:pt>
                <c:pt idx="19">
                  <c:v>5.05</c:v>
                </c:pt>
                <c:pt idx="20">
                  <c:v>5.03</c:v>
                </c:pt>
                <c:pt idx="21">
                  <c:v>5.08</c:v>
                </c:pt>
                <c:pt idx="22">
                  <c:v>5.2</c:v>
                </c:pt>
                <c:pt idx="23">
                  <c:v>5.16</c:v>
                </c:pt>
                <c:pt idx="24">
                  <c:v>5.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76</c:v>
                </c:pt>
                <c:pt idx="3">
                  <c:v>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44</c:v>
                </c:pt>
                <c:pt idx="3">
                  <c:v>22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50631</c:v>
                </c:pt>
                <c:pt idx="2">
                  <c:v>3147819</c:v>
                </c:pt>
                <c:pt idx="3">
                  <c:v>104944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70</c:v>
                </c:pt>
                <c:pt idx="2">
                  <c:v>184</c:v>
                </c:pt>
                <c:pt idx="3">
                  <c:v>3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chick Classic Wome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0</c:v>
                </c:pt>
                <c:pt idx="2">
                  <c:v>2</c:v>
                </c:pt>
                <c:pt idx="3">
                  <c:v>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780757.2"/>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36</c:v>
                </c:pt>
                <c:pt idx="2">
                  <c:v>140</c:v>
                </c:pt>
                <c:pt idx="3">
                  <c:v>15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37</c:v>
                </c:pt>
                <c:pt idx="3">
                  <c:v>18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17</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5</c:v>
                </c:pt>
                <c:pt idx="3">
                  <c:v>6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7</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chick Classic Wome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1</c:v>
                </c:pt>
                <c:pt idx="2">
                  <c:v>49</c:v>
                </c:pt>
                <c:pt idx="3">
                  <c:v>9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25.6"/>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21</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2</c:v>
                </c:pt>
                <c:pt idx="3">
                  <c:v>5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82</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70</c:v>
                </c:pt>
                <c:pt idx="3">
                  <c:v>6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8.79999999999998"/>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13</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89</c:v>
                </c:pt>
                <c:pt idx="3">
                  <c:v>8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1</c:v>
                </c:pt>
                <c:pt idx="2">
                  <c:v>143</c:v>
                </c:pt>
                <c:pt idx="3">
                  <c:v>15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7</c:v>
                </c:pt>
                <c:pt idx="2">
                  <c:v>116</c:v>
                </c:pt>
                <c:pt idx="3">
                  <c:v>11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99</c:v>
                </c:pt>
                <c:pt idx="3">
                  <c:v>8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6.0"/>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4</c:v>
                </c:pt>
                <c:pt idx="3">
                  <c:v>1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4</c:v>
                </c:pt>
                <c:pt idx="3">
                  <c:v>9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2</c:v>
                </c:pt>
                <c:pt idx="3">
                  <c:v>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88</c:v>
                </c:pt>
                <c:pt idx="3">
                  <c:v>7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83</c:v>
                </c:pt>
                <c:pt idx="3">
                  <c:v>6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7.6"/>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3</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0</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1</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2</c:v>
                </c:pt>
                <c:pt idx="3">
                  <c:v>10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78.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2</c:v>
                </c:pt>
                <c:pt idx="3">
                  <c:v>7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7</c:v>
                </c:pt>
                <c:pt idx="2">
                  <c:v>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0</c:v>
                </c:pt>
                <c:pt idx="3">
                  <c:v>14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19</c:v>
                </c:pt>
                <c:pt idx="3">
                  <c:v>14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99</c:v>
                </c:pt>
                <c:pt idx="2">
                  <c:v>24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8.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884,9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739,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821,3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884941</c:v>
                </c:pt>
                <c:pt idx="1">
                  <c:v>6770459</c:v>
                </c:pt>
                <c:pt idx="2">
                  <c:v>6658606</c:v>
                </c:pt>
                <c:pt idx="3">
                  <c:v>5970181</c:v>
                </c:pt>
                <c:pt idx="4">
                  <c:v>6802177</c:v>
                </c:pt>
                <c:pt idx="5">
                  <c:v>6209445</c:v>
                </c:pt>
                <c:pt idx="6">
                  <c:v>5990351</c:v>
                </c:pt>
                <c:pt idx="7">
                  <c:v>6825809</c:v>
                </c:pt>
                <c:pt idx="8">
                  <c:v>6560367</c:v>
                </c:pt>
                <c:pt idx="9">
                  <c:v>7375819</c:v>
                </c:pt>
                <c:pt idx="10">
                  <c:v>7744547</c:v>
                </c:pt>
                <c:pt idx="11">
                  <c:v>8115011</c:v>
                </c:pt>
                <c:pt idx="12">
                  <c:v>8026068</c:v>
                </c:pt>
                <c:pt idx="13">
                  <c:v>6739864</c:v>
                </c:pt>
                <c:pt idx="14">
                  <c:v>6512026</c:v>
                </c:pt>
                <c:pt idx="15">
                  <c:v>6047781</c:v>
                </c:pt>
                <c:pt idx="16">
                  <c:v>6989826</c:v>
                </c:pt>
                <c:pt idx="17">
                  <c:v>6117841</c:v>
                </c:pt>
                <c:pt idx="18">
                  <c:v>6212563</c:v>
                </c:pt>
                <c:pt idx="19">
                  <c:v>6918300</c:v>
                </c:pt>
                <c:pt idx="20">
                  <c:v>6549640</c:v>
                </c:pt>
                <c:pt idx="21">
                  <c:v>7358045</c:v>
                </c:pt>
                <c:pt idx="22">
                  <c:v>7785021</c:v>
                </c:pt>
                <c:pt idx="23">
                  <c:v>7929450</c:v>
                </c:pt>
                <c:pt idx="24">
                  <c:v>78213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1</c:v>
                </c:pt>
                <c:pt idx="1">
                  <c:v>3.11</c:v>
                </c:pt>
                <c:pt idx="2">
                  <c:v>3.12</c:v>
                </c:pt>
                <c:pt idx="3">
                  <c:v>3.12</c:v>
                </c:pt>
                <c:pt idx="4">
                  <c:v>3.12</c:v>
                </c:pt>
                <c:pt idx="5">
                  <c:v>3.02</c:v>
                </c:pt>
                <c:pt idx="6">
                  <c:v>3.02</c:v>
                </c:pt>
                <c:pt idx="7">
                  <c:v>3.05</c:v>
                </c:pt>
                <c:pt idx="8">
                  <c:v>3.07</c:v>
                </c:pt>
                <c:pt idx="9">
                  <c:v>3.09</c:v>
                </c:pt>
                <c:pt idx="10">
                  <c:v>3.07</c:v>
                </c:pt>
                <c:pt idx="11">
                  <c:v>3.05</c:v>
                </c:pt>
                <c:pt idx="12">
                  <c:v>3.04</c:v>
                </c:pt>
                <c:pt idx="13">
                  <c:v>3.04</c:v>
                </c:pt>
                <c:pt idx="14">
                  <c:v>3.04</c:v>
                </c:pt>
                <c:pt idx="15">
                  <c:v>3.03</c:v>
                </c:pt>
                <c:pt idx="16">
                  <c:v>3.01</c:v>
                </c:pt>
                <c:pt idx="17">
                  <c:v>2.94</c:v>
                </c:pt>
                <c:pt idx="18">
                  <c:v>2.99</c:v>
                </c:pt>
                <c:pt idx="19">
                  <c:v>3.0</c:v>
                </c:pt>
                <c:pt idx="20">
                  <c:v>3.01</c:v>
                </c:pt>
                <c:pt idx="21">
                  <c:v>3.0</c:v>
                </c:pt>
                <c:pt idx="22">
                  <c:v>3.0</c:v>
                </c:pt>
                <c:pt idx="23">
                  <c:v>3.0</c:v>
                </c:pt>
                <c:pt idx="24">
                  <c:v>3.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86</c:v>
                </c:pt>
                <c:pt idx="2">
                  <c:v>890</c:v>
                </c:pt>
                <c:pt idx="3">
                  <c:v>133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5</c:v>
                </c:pt>
                <c:pt idx="3">
                  <c:v>8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72</c:v>
                </c:pt>
                <c:pt idx="3">
                  <c:v>5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88</c:v>
                </c:pt>
                <c:pt idx="3">
                  <c:v>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86</c:v>
                </c:pt>
                <c:pt idx="3">
                  <c:v>10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05.6"/>
          <c:min val="4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0</c:v>
                </c:pt>
                <c:pt idx="3">
                  <c:v>8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2</c:v>
                </c:pt>
                <c:pt idx="2">
                  <c:v>58</c:v>
                </c:pt>
                <c:pt idx="3">
                  <c:v>5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9</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2</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05</c:v>
                </c:pt>
                <c:pt idx="3">
                  <c:v>9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109</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4</c:v>
                </c:pt>
                <c:pt idx="3">
                  <c:v>10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7</c:v>
                </c:pt>
                <c:pt idx="3">
                  <c:v>9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77</c:v>
                </c:pt>
                <c:pt idx="3">
                  <c:v>6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71</c:v>
                </c:pt>
                <c:pt idx="3">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3</c:v>
                </c:pt>
                <c:pt idx="3">
                  <c:v>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9</c:v>
                </c:pt>
                <c:pt idx="3">
                  <c:v>9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0</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01</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6</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6</c:v>
                </c:pt>
                <c:pt idx="3">
                  <c:v>8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23</c:v>
                </c:pt>
                <c:pt idx="3">
                  <c:v>13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3</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0</c:v>
                </c:pt>
                <c:pt idx="3">
                  <c:v>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3</c:v>
                </c:pt>
                <c:pt idx="3">
                  <c:v>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82</c:v>
                </c:pt>
                <c:pt idx="3">
                  <c:v>5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4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0</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08</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1</c:v>
                </c:pt>
                <c:pt idx="3">
                  <c:v>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7</c:v>
                </c:pt>
                <c:pt idx="2">
                  <c:v>62</c:v>
                </c:pt>
                <c:pt idx="3">
                  <c:v>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4</c:v>
                </c:pt>
                <c:pt idx="2">
                  <c:v>11</c:v>
                </c:pt>
                <c:pt idx="3">
                  <c:v>1971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289241</c:v>
                </c:pt>
                <c:pt idx="2">
                  <c:v>1653024</c:v>
                </c:pt>
                <c:pt idx="3">
                  <c:v>44803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36</c:v>
                </c:pt>
                <c:pt idx="2">
                  <c:v>2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5147089.2"/>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63</c:v>
                </c:pt>
                <c:pt idx="2">
                  <c:v>166</c:v>
                </c:pt>
                <c:pt idx="3">
                  <c:v>17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1</c:v>
                </c:pt>
                <c:pt idx="2">
                  <c:v>150</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c:v>
                </c:pt>
                <c:pt idx="2">
                  <c:v>50</c:v>
                </c:pt>
                <c:pt idx="3">
                  <c:v>5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4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111</c:v>
                </c:pt>
                <c:pt idx="2">
                  <c:v>16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4.0"/>
          <c:min val="3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6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565</c:v>
                </c:pt>
                <c:pt idx="1">
                  <c:v>41606</c:v>
                </c:pt>
                <c:pt idx="2">
                  <c:v>21521</c:v>
                </c:pt>
                <c:pt idx="3">
                  <c:v>20959</c:v>
                </c:pt>
                <c:pt idx="4">
                  <c:v>25510</c:v>
                </c:pt>
                <c:pt idx="5">
                  <c:v>31366</c:v>
                </c:pt>
                <c:pt idx="6">
                  <c:v>47644</c:v>
                </c:pt>
                <c:pt idx="7">
                  <c:v>30453</c:v>
                </c:pt>
                <c:pt idx="8">
                  <c:v>36128</c:v>
                </c:pt>
                <c:pt idx="9">
                  <c:v>85677</c:v>
                </c:pt>
                <c:pt idx="10">
                  <c:v>21495</c:v>
                </c:pt>
                <c:pt idx="11">
                  <c:v>22357</c:v>
                </c:pt>
                <c:pt idx="12">
                  <c:v>15347</c:v>
                </c:pt>
                <c:pt idx="13">
                  <c:v>13688</c:v>
                </c:pt>
                <c:pt idx="14">
                  <c:v>13933</c:v>
                </c:pt>
                <c:pt idx="15">
                  <c:v>11434</c:v>
                </c:pt>
                <c:pt idx="16">
                  <c:v>11128</c:v>
                </c:pt>
                <c:pt idx="17">
                  <c:v>10080</c:v>
                </c:pt>
                <c:pt idx="18">
                  <c:v>8639</c:v>
                </c:pt>
                <c:pt idx="19">
                  <c:v>11209</c:v>
                </c:pt>
                <c:pt idx="20">
                  <c:v>11821</c:v>
                </c:pt>
                <c:pt idx="21">
                  <c:v>10118</c:v>
                </c:pt>
                <c:pt idx="22">
                  <c:v>9496</c:v>
                </c:pt>
                <c:pt idx="23">
                  <c:v>8810</c:v>
                </c:pt>
                <c:pt idx="24">
                  <c:v>771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5</c:v>
                </c:pt>
                <c:pt idx="1">
                  <c:v>1.47</c:v>
                </c:pt>
                <c:pt idx="2">
                  <c:v>1.71</c:v>
                </c:pt>
                <c:pt idx="3">
                  <c:v>1.6</c:v>
                </c:pt>
                <c:pt idx="4">
                  <c:v>1.47</c:v>
                </c:pt>
                <c:pt idx="5">
                  <c:v>1.72</c:v>
                </c:pt>
                <c:pt idx="6">
                  <c:v>1.85</c:v>
                </c:pt>
                <c:pt idx="7">
                  <c:v>1.34</c:v>
                </c:pt>
                <c:pt idx="8">
                  <c:v>1.29</c:v>
                </c:pt>
                <c:pt idx="9">
                  <c:v>1.87</c:v>
                </c:pt>
                <c:pt idx="10">
                  <c:v>1.85</c:v>
                </c:pt>
                <c:pt idx="11">
                  <c:v>1.99</c:v>
                </c:pt>
                <c:pt idx="12">
                  <c:v>1.94</c:v>
                </c:pt>
                <c:pt idx="13">
                  <c:v>2.12</c:v>
                </c:pt>
                <c:pt idx="14">
                  <c:v>2.25</c:v>
                </c:pt>
                <c:pt idx="15">
                  <c:v>2.17</c:v>
                </c:pt>
                <c:pt idx="16">
                  <c:v>1.95</c:v>
                </c:pt>
                <c:pt idx="17">
                  <c:v>1.72</c:v>
                </c:pt>
                <c:pt idx="18">
                  <c:v>1.59</c:v>
                </c:pt>
                <c:pt idx="19">
                  <c:v>1.75</c:v>
                </c:pt>
                <c:pt idx="20">
                  <c:v>1.68</c:v>
                </c:pt>
                <c:pt idx="21">
                  <c:v>1.57</c:v>
                </c:pt>
                <c:pt idx="22">
                  <c:v>1.52</c:v>
                </c:pt>
                <c:pt idx="23">
                  <c:v>1.42</c:v>
                </c:pt>
                <c:pt idx="24">
                  <c:v>1.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10</c:v>
                </c:pt>
                <c:pt idx="3">
                  <c:v>12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6</c:v>
                </c:pt>
                <c:pt idx="2">
                  <c:v>66</c:v>
                </c:pt>
                <c:pt idx="3">
                  <c:v>4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8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98</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4</c:v>
                </c:pt>
                <c:pt idx="2">
                  <c:v>78</c:v>
                </c:pt>
                <c:pt idx="3">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8.79999999999998"/>
          <c:min val="3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8</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50</c:v>
                </c:pt>
                <c:pt idx="3">
                  <c:v>1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6</c:v>
                </c:pt>
                <c:pt idx="2">
                  <c:v>133</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8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7</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28.0"/>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4</c:v>
                </c:pt>
                <c:pt idx="3">
                  <c:v>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5</c:v>
                </c:pt>
                <c:pt idx="2">
                  <c:v>85</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88</c:v>
                </c:pt>
                <c:pt idx="3">
                  <c:v>7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87</c:v>
                </c:pt>
                <c:pt idx="3">
                  <c:v>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79</c:v>
                </c:pt>
                <c:pt idx="3">
                  <c:v>8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1</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09</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6</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3</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94</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8</c:v>
                </c:pt>
                <c:pt idx="2">
                  <c:v>79</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2</c:v>
                </c:pt>
                <c:pt idx="2">
                  <c:v>68</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64</c:v>
                </c:pt>
                <c:pt idx="3">
                  <c:v>9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4</c:v>
                </c:pt>
                <c:pt idx="2">
                  <c:v>177</c:v>
                </c:pt>
                <c:pt idx="3">
                  <c:v>16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85</c:v>
                </c:pt>
                <c:pt idx="3">
                  <c:v>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89</c:v>
                </c:pt>
                <c:pt idx="2">
                  <c:v>266</c:v>
                </c:pt>
                <c:pt idx="3">
                  <c:v>2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0</c:v>
                </c:pt>
                <c:pt idx="2">
                  <c:v>55</c:v>
                </c:pt>
                <c:pt idx="3">
                  <c:v>4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65</c:v>
                </c:pt>
                <c:pt idx="3">
                  <c:v>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6.8"/>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0</c:v>
                </c:pt>
                <c:pt idx="2">
                  <c:v>91</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92</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5</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6</c:v>
                </c:pt>
                <c:pt idx="3">
                  <c:v>11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26</c:v>
                </c:pt>
                <c:pt idx="3">
                  <c:v>11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94</c:v>
                </c:pt>
                <c:pt idx="3">
                  <c:v>8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86</c:v>
                </c:pt>
                <c:pt idx="3">
                  <c:v>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65</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221</c:v>
                </c:pt>
                <c:pt idx="2">
                  <c:v>245</c:v>
                </c:pt>
                <c:pt idx="3">
                  <c:v>3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66</c:v>
                </c:pt>
                <c:pt idx="2">
                  <c:v>164</c:v>
                </c:pt>
                <c:pt idx="3">
                  <c:v>17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70.8"/>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99</c:v>
                </c:pt>
                <c:pt idx="3">
                  <c:v>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19</c:v>
                </c:pt>
                <c:pt idx="3">
                  <c:v>11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4</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11</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5</c:v>
                </c:pt>
                <c:pt idx="2">
                  <c:v>109</c:v>
                </c:pt>
                <c:pt idx="3">
                  <c:v>10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6</c:v>
                </c:pt>
                <c:pt idx="2">
                  <c:v>111</c:v>
                </c:pt>
                <c:pt idx="3">
                  <c:v>9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34,0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88,1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56,6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234086</c:v>
                </c:pt>
                <c:pt idx="1">
                  <c:v>1012301</c:v>
                </c:pt>
                <c:pt idx="2">
                  <c:v>959367</c:v>
                </c:pt>
                <c:pt idx="3">
                  <c:v>948322</c:v>
                </c:pt>
                <c:pt idx="4">
                  <c:v>1066077</c:v>
                </c:pt>
                <c:pt idx="5">
                  <c:v>1132388</c:v>
                </c:pt>
                <c:pt idx="6">
                  <c:v>1102107</c:v>
                </c:pt>
                <c:pt idx="7">
                  <c:v>1132289</c:v>
                </c:pt>
                <c:pt idx="8">
                  <c:v>1068989</c:v>
                </c:pt>
                <c:pt idx="9">
                  <c:v>1194947</c:v>
                </c:pt>
                <c:pt idx="10">
                  <c:v>1239597</c:v>
                </c:pt>
                <c:pt idx="11">
                  <c:v>1460516</c:v>
                </c:pt>
                <c:pt idx="12">
                  <c:v>1343912</c:v>
                </c:pt>
                <c:pt idx="13">
                  <c:v>1088183</c:v>
                </c:pt>
                <c:pt idx="14">
                  <c:v>1014149</c:v>
                </c:pt>
                <c:pt idx="15">
                  <c:v>1045739</c:v>
                </c:pt>
                <c:pt idx="16">
                  <c:v>1097140</c:v>
                </c:pt>
                <c:pt idx="17">
                  <c:v>1088034</c:v>
                </c:pt>
                <c:pt idx="18">
                  <c:v>1169605</c:v>
                </c:pt>
                <c:pt idx="19">
                  <c:v>1241242</c:v>
                </c:pt>
                <c:pt idx="20">
                  <c:v>1248117</c:v>
                </c:pt>
                <c:pt idx="21">
                  <c:v>1289434</c:v>
                </c:pt>
                <c:pt idx="22">
                  <c:v>1214806</c:v>
                </c:pt>
                <c:pt idx="23">
                  <c:v>1185796</c:v>
                </c:pt>
                <c:pt idx="24">
                  <c:v>11566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4</c:v>
                </c:pt>
                <c:pt idx="1">
                  <c:v>3.2</c:v>
                </c:pt>
                <c:pt idx="2">
                  <c:v>3.04</c:v>
                </c:pt>
                <c:pt idx="3">
                  <c:v>3.08</c:v>
                </c:pt>
                <c:pt idx="4">
                  <c:v>3.32</c:v>
                </c:pt>
                <c:pt idx="5">
                  <c:v>3.37</c:v>
                </c:pt>
                <c:pt idx="6">
                  <c:v>3.38</c:v>
                </c:pt>
                <c:pt idx="7">
                  <c:v>3.03</c:v>
                </c:pt>
                <c:pt idx="8">
                  <c:v>3.01</c:v>
                </c:pt>
                <c:pt idx="9">
                  <c:v>2.9</c:v>
                </c:pt>
                <c:pt idx="10">
                  <c:v>2.95</c:v>
                </c:pt>
                <c:pt idx="11">
                  <c:v>2.87</c:v>
                </c:pt>
                <c:pt idx="12">
                  <c:v>2.86</c:v>
                </c:pt>
                <c:pt idx="13">
                  <c:v>2.69</c:v>
                </c:pt>
                <c:pt idx="14">
                  <c:v>2.57</c:v>
                </c:pt>
                <c:pt idx="15">
                  <c:v>2.55</c:v>
                </c:pt>
                <c:pt idx="16">
                  <c:v>2.59</c:v>
                </c:pt>
                <c:pt idx="17">
                  <c:v>2.54</c:v>
                </c:pt>
                <c:pt idx="18">
                  <c:v>2.72</c:v>
                </c:pt>
                <c:pt idx="19">
                  <c:v>3.05</c:v>
                </c:pt>
                <c:pt idx="20">
                  <c:v>2.94</c:v>
                </c:pt>
                <c:pt idx="21">
                  <c:v>2.9</c:v>
                </c:pt>
                <c:pt idx="22">
                  <c:v>3.04</c:v>
                </c:pt>
                <c:pt idx="23">
                  <c:v>3.06</c:v>
                </c:pt>
                <c:pt idx="24">
                  <c:v>3.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4</c:v>
                </c:pt>
                <c:pt idx="3">
                  <c:v>10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7</c:v>
                </c:pt>
                <c:pt idx="3">
                  <c:v>9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77</c:v>
                </c:pt>
                <c:pt idx="3">
                  <c:v>6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71</c:v>
                </c:pt>
                <c:pt idx="3">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3</c:v>
                </c:pt>
                <c:pt idx="3">
                  <c:v>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9</c:v>
                </c:pt>
                <c:pt idx="3">
                  <c:v>9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0</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01</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6</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6</c:v>
                </c:pt>
                <c:pt idx="3">
                  <c:v>8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6</c:v>
                </c:pt>
                <c:pt idx="2">
                  <c:v>61</c:v>
                </c:pt>
                <c:pt idx="3">
                  <c:v>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58</c:v>
                </c:pt>
                <c:pt idx="2">
                  <c:v>164</c:v>
                </c:pt>
                <c:pt idx="3">
                  <c:v>1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5</c:v>
                </c:pt>
                <c:pt idx="2">
                  <c:v>146</c:v>
                </c:pt>
                <c:pt idx="3">
                  <c:v>8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5.2"/>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113</c:v>
                </c:pt>
                <c:pt idx="3">
                  <c:v>13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72</c:v>
                </c:pt>
                <c:pt idx="3">
                  <c:v>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9</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06</c:v>
                </c:pt>
                <c:pt idx="3">
                  <c:v>11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4</c:v>
                </c:pt>
                <c:pt idx="3">
                  <c:v>8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0.79999999999998"/>
          <c:min val="4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7</c:v>
                </c:pt>
                <c:pt idx="2">
                  <c:v>133</c:v>
                </c:pt>
                <c:pt idx="3">
                  <c:v>13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8</c:v>
                </c:pt>
                <c:pt idx="2">
                  <c:v>112</c:v>
                </c:pt>
                <c:pt idx="3">
                  <c:v>10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3</c:v>
                </c:pt>
                <c:pt idx="2">
                  <c:v>157</c:v>
                </c:pt>
                <c:pt idx="3">
                  <c:v>2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5</c:v>
                </c:pt>
                <c:pt idx="2">
                  <c:v>131</c:v>
                </c:pt>
                <c:pt idx="3">
                  <c:v>12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2</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99</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43.6"/>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5,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39,4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80,7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65731</c:v>
                </c:pt>
                <c:pt idx="1">
                  <c:v>615754</c:v>
                </c:pt>
                <c:pt idx="2">
                  <c:v>653686</c:v>
                </c:pt>
                <c:pt idx="3">
                  <c:v>681416</c:v>
                </c:pt>
                <c:pt idx="4">
                  <c:v>629505</c:v>
                </c:pt>
                <c:pt idx="5">
                  <c:v>680296</c:v>
                </c:pt>
                <c:pt idx="6">
                  <c:v>573716</c:v>
                </c:pt>
                <c:pt idx="7">
                  <c:v>683362</c:v>
                </c:pt>
                <c:pt idx="8">
                  <c:v>648174</c:v>
                </c:pt>
                <c:pt idx="9">
                  <c:v>673282</c:v>
                </c:pt>
                <c:pt idx="10">
                  <c:v>719619</c:v>
                </c:pt>
                <c:pt idx="11">
                  <c:v>916459</c:v>
                </c:pt>
                <c:pt idx="12">
                  <c:v>945325</c:v>
                </c:pt>
                <c:pt idx="13">
                  <c:v>839459</c:v>
                </c:pt>
                <c:pt idx="14">
                  <c:v>868852</c:v>
                </c:pt>
                <c:pt idx="15">
                  <c:v>847090</c:v>
                </c:pt>
                <c:pt idx="16">
                  <c:v>816978</c:v>
                </c:pt>
                <c:pt idx="17">
                  <c:v>843503</c:v>
                </c:pt>
                <c:pt idx="18">
                  <c:v>916331</c:v>
                </c:pt>
                <c:pt idx="19">
                  <c:v>1054768</c:v>
                </c:pt>
                <c:pt idx="20">
                  <c:v>1055637</c:v>
                </c:pt>
                <c:pt idx="21">
                  <c:v>1165716</c:v>
                </c:pt>
                <c:pt idx="22">
                  <c:v>1216757</c:v>
                </c:pt>
                <c:pt idx="23">
                  <c:v>1330602</c:v>
                </c:pt>
                <c:pt idx="24">
                  <c:v>108078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7</c:v>
                </c:pt>
                <c:pt idx="1">
                  <c:v>3.28</c:v>
                </c:pt>
                <c:pt idx="2">
                  <c:v>3.32</c:v>
                </c:pt>
                <c:pt idx="3">
                  <c:v>3.32</c:v>
                </c:pt>
                <c:pt idx="4">
                  <c:v>3.17</c:v>
                </c:pt>
                <c:pt idx="5">
                  <c:v>3.22</c:v>
                </c:pt>
                <c:pt idx="6">
                  <c:v>3.35</c:v>
                </c:pt>
                <c:pt idx="7">
                  <c:v>3.18</c:v>
                </c:pt>
                <c:pt idx="8">
                  <c:v>3.15</c:v>
                </c:pt>
                <c:pt idx="9">
                  <c:v>3.05</c:v>
                </c:pt>
                <c:pt idx="10">
                  <c:v>3.07</c:v>
                </c:pt>
                <c:pt idx="11">
                  <c:v>3.11</c:v>
                </c:pt>
                <c:pt idx="12">
                  <c:v>2.99</c:v>
                </c:pt>
                <c:pt idx="13">
                  <c:v>2.83</c:v>
                </c:pt>
                <c:pt idx="14">
                  <c:v>2.78</c:v>
                </c:pt>
                <c:pt idx="15">
                  <c:v>2.77</c:v>
                </c:pt>
                <c:pt idx="16">
                  <c:v>2.88</c:v>
                </c:pt>
                <c:pt idx="17">
                  <c:v>2.91</c:v>
                </c:pt>
                <c:pt idx="18">
                  <c:v>2.66</c:v>
                </c:pt>
                <c:pt idx="19">
                  <c:v>2.71</c:v>
                </c:pt>
                <c:pt idx="20">
                  <c:v>2.67</c:v>
                </c:pt>
                <c:pt idx="21">
                  <c:v>2.72</c:v>
                </c:pt>
                <c:pt idx="22">
                  <c:v>2.84</c:v>
                </c:pt>
                <c:pt idx="23">
                  <c:v>2.69</c:v>
                </c:pt>
                <c:pt idx="24">
                  <c:v>2.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7</c:v>
                </c:pt>
                <c:pt idx="3">
                  <c:v>8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87</c:v>
                </c:pt>
                <c:pt idx="3">
                  <c:v>6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7</c:v>
                </c:pt>
                <c:pt idx="3">
                  <c:v>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89</c:v>
                </c:pt>
                <c:pt idx="3">
                  <c:v>7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94</c:v>
                </c:pt>
                <c:pt idx="3">
                  <c:v>10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6.0"/>
          <c:min val="5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01</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08</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6</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12</c:v>
                </c:pt>
                <c:pt idx="3">
                  <c:v>11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3</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99</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77.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0</c:v>
                </c:pt>
                <c:pt idx="2">
                  <c:v>13</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4</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4</c:v>
                </c:pt>
                <c:pt idx="2">
                  <c:v>73</c:v>
                </c:pt>
                <c:pt idx="3">
                  <c:v>3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8</c:v>
                </c:pt>
                <c:pt idx="2">
                  <c:v>95</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4</c:v>
                </c:pt>
                <c:pt idx="2">
                  <c:v>75</c:v>
                </c:pt>
                <c:pt idx="3">
                  <c:v>5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6</c:v>
                </c:pt>
                <c:pt idx="2">
                  <c:v>77</c:v>
                </c:pt>
                <c:pt idx="3">
                  <c:v>7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96</c:v>
                </c:pt>
                <c:pt idx="3">
                  <c:v>10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634</c:v>
                </c:pt>
                <c:pt idx="3">
                  <c:v>6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60.8"/>
          <c:min val="44.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6</c:v>
                </c:pt>
                <c:pt idx="2">
                  <c:v>120</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16</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26</c:v>
                </c:pt>
                <c:pt idx="3">
                  <c:v>15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5</c:v>
                </c:pt>
                <c:pt idx="2">
                  <c:v>122</c:v>
                </c:pt>
                <c:pt idx="3">
                  <c:v>11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1</c:v>
                </c:pt>
                <c:pt idx="3">
                  <c:v>8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7.2"/>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78</c:v>
                </c:pt>
                <c:pt idx="3">
                  <c:v>8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9</c:v>
                </c:pt>
                <c:pt idx="2">
                  <c:v>77</c:v>
                </c:pt>
                <c:pt idx="3">
                  <c:v>6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8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89</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584</c:v>
                </c:pt>
                <c:pt idx="3">
                  <c:v>74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98.8"/>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97</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13</c:v>
                </c:pt>
                <c:pt idx="3">
                  <c:v>11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9</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9</c:v>
                </c:pt>
                <c:pt idx="3">
                  <c:v>11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05</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7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11</c:v>
                </c:pt>
                <c:pt idx="3">
                  <c:v>1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5</c:v>
                </c:pt>
                <c:pt idx="2">
                  <c:v>65</c:v>
                </c:pt>
                <c:pt idx="3">
                  <c:v>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2</c:v>
                </c:pt>
                <c:pt idx="2">
                  <c:v>8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97</c:v>
                </c:pt>
                <c:pt idx="3">
                  <c:v>10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71</c:v>
                </c:pt>
                <c:pt idx="3">
                  <c:v>6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7.6"/>
          <c:min val="3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8</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106</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49</c:v>
                </c:pt>
                <c:pt idx="3">
                  <c:v>1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7</c:v>
                </c:pt>
                <c:pt idx="2">
                  <c:v>134</c:v>
                </c:pt>
                <c:pt idx="3">
                  <c:v>13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8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7</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28.0"/>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7</c:v>
                </c:pt>
                <c:pt idx="2">
                  <c:v>3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6</c:v>
                </c:pt>
                <c:pt idx="3">
                  <c:v>12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36</c:v>
                </c:pt>
                <c:pt idx="3">
                  <c:v>12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99</c:v>
                </c:pt>
                <c:pt idx="2">
                  <c:v>24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8.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82</c:v>
                </c:pt>
                <c:pt idx="3">
                  <c:v>3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41</c:v>
                </c:pt>
                <c:pt idx="2">
                  <c:v>271</c:v>
                </c:pt>
                <c:pt idx="3">
                  <c:v>2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9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54</c:v>
                </c:pt>
                <c:pt idx="2">
                  <c:v>35</c:v>
                </c:pt>
                <c:pt idx="3">
                  <c:v>3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7</c:v>
                </c:pt>
                <c:pt idx="2">
                  <c:v>79</c:v>
                </c:pt>
                <c:pt idx="3">
                  <c:v>6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60.79999999999995"/>
          <c:min val="2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0</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7</c:v>
                </c:pt>
                <c:pt idx="2">
                  <c:v>58</c:v>
                </c:pt>
                <c:pt idx="3">
                  <c:v>5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99</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94</c:v>
                </c:pt>
                <c:pt idx="3">
                  <c:v>9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09</c:v>
                </c:pt>
                <c:pt idx="3">
                  <c:v>10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91</c:v>
                </c:pt>
                <c:pt idx="3">
                  <c:v>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50,7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875,3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712,8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50749</c:v>
                </c:pt>
                <c:pt idx="1">
                  <c:v>7304159</c:v>
                </c:pt>
                <c:pt idx="2">
                  <c:v>6773189</c:v>
                </c:pt>
                <c:pt idx="3">
                  <c:v>6073653</c:v>
                </c:pt>
                <c:pt idx="4">
                  <c:v>6459014</c:v>
                </c:pt>
                <c:pt idx="5">
                  <c:v>6359786</c:v>
                </c:pt>
                <c:pt idx="6">
                  <c:v>6192859</c:v>
                </c:pt>
                <c:pt idx="7">
                  <c:v>7167446</c:v>
                </c:pt>
                <c:pt idx="8">
                  <c:v>6886839</c:v>
                </c:pt>
                <c:pt idx="9">
                  <c:v>7474392</c:v>
                </c:pt>
                <c:pt idx="10">
                  <c:v>7783433</c:v>
                </c:pt>
                <c:pt idx="11">
                  <c:v>8176348</c:v>
                </c:pt>
                <c:pt idx="12">
                  <c:v>8038391</c:v>
                </c:pt>
                <c:pt idx="13">
                  <c:v>6875325</c:v>
                </c:pt>
                <c:pt idx="14">
                  <c:v>6509191</c:v>
                </c:pt>
                <c:pt idx="15">
                  <c:v>6045558</c:v>
                </c:pt>
                <c:pt idx="16">
                  <c:v>6490932</c:v>
                </c:pt>
                <c:pt idx="17">
                  <c:v>6431790</c:v>
                </c:pt>
                <c:pt idx="18">
                  <c:v>6802864</c:v>
                </c:pt>
                <c:pt idx="19">
                  <c:v>7885895</c:v>
                </c:pt>
                <c:pt idx="20">
                  <c:v>7656772</c:v>
                </c:pt>
                <c:pt idx="21">
                  <c:v>8258012</c:v>
                </c:pt>
                <c:pt idx="22">
                  <c:v>8617736</c:v>
                </c:pt>
                <c:pt idx="23">
                  <c:v>9224779</c:v>
                </c:pt>
                <c:pt idx="24">
                  <c:v>87128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51</c:v>
                </c:pt>
                <c:pt idx="1">
                  <c:v>0.52</c:v>
                </c:pt>
                <c:pt idx="2">
                  <c:v>0.49</c:v>
                </c:pt>
                <c:pt idx="3">
                  <c:v>0.48</c:v>
                </c:pt>
                <c:pt idx="4">
                  <c:v>0.48</c:v>
                </c:pt>
                <c:pt idx="5">
                  <c:v>0.49</c:v>
                </c:pt>
                <c:pt idx="6">
                  <c:v>0.5</c:v>
                </c:pt>
                <c:pt idx="7">
                  <c:v>0.51</c:v>
                </c:pt>
                <c:pt idx="8">
                  <c:v>0.52</c:v>
                </c:pt>
                <c:pt idx="9">
                  <c:v>0.52</c:v>
                </c:pt>
                <c:pt idx="10">
                  <c:v>0.53</c:v>
                </c:pt>
                <c:pt idx="11">
                  <c:v>0.53</c:v>
                </c:pt>
                <c:pt idx="12">
                  <c:v>0.54</c:v>
                </c:pt>
                <c:pt idx="13">
                  <c:v>0.53</c:v>
                </c:pt>
                <c:pt idx="14">
                  <c:v>0.49</c:v>
                </c:pt>
                <c:pt idx="15">
                  <c:v>0.5</c:v>
                </c:pt>
                <c:pt idx="16">
                  <c:v>0.51</c:v>
                </c:pt>
                <c:pt idx="17">
                  <c:v>0.52</c:v>
                </c:pt>
                <c:pt idx="18">
                  <c:v>0.54</c:v>
                </c:pt>
                <c:pt idx="19">
                  <c:v>0.56</c:v>
                </c:pt>
                <c:pt idx="20">
                  <c:v>0.55</c:v>
                </c:pt>
                <c:pt idx="21">
                  <c:v>0.56</c:v>
                </c:pt>
                <c:pt idx="22">
                  <c:v>0.56</c:v>
                </c:pt>
                <c:pt idx="23">
                  <c:v>0.57</c:v>
                </c:pt>
                <c:pt idx="24">
                  <c:v>0.5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ydro Silk</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2</c:v>
                </c:pt>
                <c:pt idx="2">
                  <c:v>253</c:v>
                </c:pt>
                <c:pt idx="3">
                  <c:v>21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8</c:v>
                </c:pt>
                <c:pt idx="3">
                  <c:v>10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68</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2</c:v>
                </c:pt>
                <c:pt idx="3">
                  <c:v>1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9</c:v>
                </c:pt>
                <c:pt idx="2">
                  <c:v>123</c:v>
                </c:pt>
                <c:pt idx="3">
                  <c:v>10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3.59999999999997"/>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23</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ydro Silk</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14</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9</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86</c:v>
                </c:pt>
                <c:pt idx="3">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81</c:v>
                </c:pt>
                <c:pt idx="3">
                  <c:v>6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4</c:v>
                </c:pt>
                <c:pt idx="2">
                  <c:v>142</c:v>
                </c:pt>
                <c:pt idx="3">
                  <c:v>1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81</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m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0</c:v>
                </c:pt>
                <c:pt idx="2">
                  <c:v>143</c:v>
                </c:pt>
                <c:pt idx="3">
                  <c:v>13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0.4"/>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1</c:v>
                </c:pt>
                <c:pt idx="2">
                  <c:v>114</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1</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1</c:v>
                </c:pt>
                <c:pt idx="2">
                  <c:v>56</c:v>
                </c:pt>
                <c:pt idx="3">
                  <c:v>5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5</c:v>
                </c:pt>
                <c:pt idx="3">
                  <c:v>11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m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3</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44.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00</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5</c:v>
                </c:pt>
                <c:pt idx="3">
                  <c:v>10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1</c:v>
                </c:pt>
                <c:pt idx="3">
                  <c:v>11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5</c:v>
                </c:pt>
                <c:pt idx="2">
                  <c:v>121</c:v>
                </c:pt>
                <c:pt idx="3">
                  <c:v>12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chick Classic Wome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5</c:v>
                </c:pt>
                <c:pt idx="2">
                  <c:v>34</c:v>
                </c:pt>
                <c:pt idx="3">
                  <c:v>1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2.4"/>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4</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1</c:v>
                </c:pt>
                <c:pt idx="3">
                  <c:v>1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0</c:v>
                </c:pt>
                <c:pt idx="3">
                  <c:v>7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chick Classic Wome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125</c:v>
                </c:pt>
                <c:pt idx="3">
                  <c:v>7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6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28</c:v>
                </c:pt>
                <c:pt idx="3">
                  <c:v>1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07</c:v>
                </c:pt>
                <c:pt idx="3">
                  <c:v>1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88</c:v>
                </c:pt>
                <c:pt idx="3">
                  <c:v>8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88</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62</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4.4"/>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5</c:v>
                </c:pt>
                <c:pt idx="3">
                  <c:v>12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4</c:v>
                </c:pt>
                <c:pt idx="2">
                  <c:v>143</c:v>
                </c:pt>
                <c:pt idx="3">
                  <c:v>14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20</c:v>
                </c:pt>
                <c:pt idx="3">
                  <c:v>11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96</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2</c:v>
                </c:pt>
                <c:pt idx="3">
                  <c:v>9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1.6"/>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78</c:v>
                </c:pt>
                <c:pt idx="3">
                  <c:v>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7</c:v>
                </c:pt>
                <c:pt idx="3">
                  <c:v>11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84</c:v>
                </c:pt>
                <c:pt idx="3">
                  <c:v>8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4</c:v>
                </c:pt>
                <c:pt idx="2">
                  <c:v>79</c:v>
                </c:pt>
                <c:pt idx="3">
                  <c:v>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9</c:v>
                </c:pt>
                <c:pt idx="3">
                  <c:v>10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0.4"/>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4</c:v>
                </c:pt>
                <c:pt idx="3">
                  <c:v>1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32</c:v>
                </c:pt>
                <c:pt idx="3">
                  <c:v>15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4</c:v>
                </c:pt>
                <c:pt idx="3">
                  <c:v>9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08</c:v>
                </c:pt>
                <c:pt idx="3">
                  <c:v>10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20</c:v>
                </c:pt>
                <c:pt idx="3">
                  <c:v>12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103</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4"/>
          <c:min val="77.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65,4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805,1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407,0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65426</c:v>
                </c:pt>
                <c:pt idx="1">
                  <c:v>3919143</c:v>
                </c:pt>
                <c:pt idx="2">
                  <c:v>3946876</c:v>
                </c:pt>
                <c:pt idx="3">
                  <c:v>3764647</c:v>
                </c:pt>
                <c:pt idx="4">
                  <c:v>4500709</c:v>
                </c:pt>
                <c:pt idx="5">
                  <c:v>3443253</c:v>
                </c:pt>
                <c:pt idx="6">
                  <c:v>3287958</c:v>
                </c:pt>
                <c:pt idx="7">
                  <c:v>3797650</c:v>
                </c:pt>
                <c:pt idx="8">
                  <c:v>3926600</c:v>
                </c:pt>
                <c:pt idx="9">
                  <c:v>4235975</c:v>
                </c:pt>
                <c:pt idx="10">
                  <c:v>4502181</c:v>
                </c:pt>
                <c:pt idx="11">
                  <c:v>4852118</c:v>
                </c:pt>
                <c:pt idx="12">
                  <c:v>4683572</c:v>
                </c:pt>
                <c:pt idx="13">
                  <c:v>3805131</c:v>
                </c:pt>
                <c:pt idx="14">
                  <c:v>3792631</c:v>
                </c:pt>
                <c:pt idx="15">
                  <c:v>3619568</c:v>
                </c:pt>
                <c:pt idx="16">
                  <c:v>4546298</c:v>
                </c:pt>
                <c:pt idx="17">
                  <c:v>3319354</c:v>
                </c:pt>
                <c:pt idx="18">
                  <c:v>3362082</c:v>
                </c:pt>
                <c:pt idx="19">
                  <c:v>3816457</c:v>
                </c:pt>
                <c:pt idx="20">
                  <c:v>3689137</c:v>
                </c:pt>
                <c:pt idx="21">
                  <c:v>4027374</c:v>
                </c:pt>
                <c:pt idx="22">
                  <c:v>4505155</c:v>
                </c:pt>
                <c:pt idx="23">
                  <c:v>4629863</c:v>
                </c:pt>
                <c:pt idx="24">
                  <c:v>44070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3</c:v>
                </c:pt>
                <c:pt idx="1">
                  <c:v>1.48</c:v>
                </c:pt>
                <c:pt idx="2">
                  <c:v>1.44</c:v>
                </c:pt>
                <c:pt idx="3">
                  <c:v>1.45</c:v>
                </c:pt>
                <c:pt idx="4">
                  <c:v>1.46</c:v>
                </c:pt>
                <c:pt idx="5">
                  <c:v>1.44</c:v>
                </c:pt>
                <c:pt idx="6">
                  <c:v>1.49</c:v>
                </c:pt>
                <c:pt idx="7">
                  <c:v>1.52</c:v>
                </c:pt>
                <c:pt idx="8">
                  <c:v>1.55</c:v>
                </c:pt>
                <c:pt idx="9">
                  <c:v>1.56</c:v>
                </c:pt>
                <c:pt idx="10">
                  <c:v>1.57</c:v>
                </c:pt>
                <c:pt idx="11">
                  <c:v>1.58</c:v>
                </c:pt>
                <c:pt idx="12">
                  <c:v>1.57</c:v>
                </c:pt>
                <c:pt idx="13">
                  <c:v>1.54</c:v>
                </c:pt>
                <c:pt idx="14">
                  <c:v>1.5</c:v>
                </c:pt>
                <c:pt idx="15">
                  <c:v>1.51</c:v>
                </c:pt>
                <c:pt idx="16">
                  <c:v>1.56</c:v>
                </c:pt>
                <c:pt idx="17">
                  <c:v>1.46</c:v>
                </c:pt>
                <c:pt idx="18">
                  <c:v>1.48</c:v>
                </c:pt>
                <c:pt idx="19">
                  <c:v>1.5</c:v>
                </c:pt>
                <c:pt idx="20">
                  <c:v>1.49</c:v>
                </c:pt>
                <c:pt idx="21">
                  <c:v>1.5</c:v>
                </c:pt>
                <c:pt idx="22">
                  <c:v>1.53</c:v>
                </c:pt>
                <c:pt idx="23">
                  <c:v>1.53</c:v>
                </c:pt>
                <c:pt idx="24">
                  <c:v>1.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8</c:v>
                </c:pt>
                <c:pt idx="2">
                  <c:v>140</c:v>
                </c:pt>
                <c:pt idx="3">
                  <c:v>1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2</c:v>
                </c:pt>
                <c:pt idx="2">
                  <c:v>63</c:v>
                </c:pt>
                <c:pt idx="3">
                  <c:v>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9</c:v>
                </c:pt>
                <c:pt idx="2">
                  <c:v>23</c:v>
                </c:pt>
                <c:pt idx="3">
                  <c:v>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3.2"/>
          <c:min val="1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7</c:v>
                </c:pt>
                <c:pt idx="2">
                  <c:v>139</c:v>
                </c:pt>
                <c:pt idx="3">
                  <c:v>1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3</c:v>
                </c:pt>
                <c:pt idx="2">
                  <c:v>126</c:v>
                </c:pt>
                <c:pt idx="3">
                  <c:v>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5</c:v>
                </c:pt>
                <c:pt idx="2">
                  <c:v>90</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19</c:v>
                </c:pt>
                <c:pt idx="3">
                  <c:v>12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5.6"/>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2</c:v>
                </c:pt>
                <c:pt idx="3">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9</c:v>
                </c:pt>
                <c:pt idx="2">
                  <c:v>81</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4</c:v>
                </c:pt>
                <c:pt idx="3">
                  <c:v>12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4</c:v>
                </c:pt>
                <c:pt idx="2">
                  <c:v>61</c:v>
                </c:pt>
                <c:pt idx="3">
                  <c:v>3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t2/Slim Twi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7</c:v>
                </c:pt>
                <c:pt idx="2">
                  <c:v>66</c:v>
                </c:pt>
                <c:pt idx="3">
                  <c:v>5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2.4"/>
          <c:min val="31.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13</c:v>
                </c:pt>
                <c:pt idx="3">
                  <c:v>12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05</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7</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78</c:v>
                </c:pt>
                <c:pt idx="3">
                  <c:v>6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82</c:v>
                </c:pt>
                <c:pt idx="3">
                  <c:v>8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t2/Slim Twi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8</c:v>
                </c:pt>
                <c:pt idx="2">
                  <c:v>143</c:v>
                </c:pt>
                <c:pt idx="3">
                  <c:v>16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6.79999999999998"/>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830,7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861,7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979,5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830789</c:v>
                </c:pt>
                <c:pt idx="1">
                  <c:v>12007985</c:v>
                </c:pt>
                <c:pt idx="2">
                  <c:v>12199362</c:v>
                </c:pt>
                <c:pt idx="3">
                  <c:v>11452073</c:v>
                </c:pt>
                <c:pt idx="4">
                  <c:v>12453985</c:v>
                </c:pt>
                <c:pt idx="5">
                  <c:v>10407722</c:v>
                </c:pt>
                <c:pt idx="6">
                  <c:v>11145215</c:v>
                </c:pt>
                <c:pt idx="7">
                  <c:v>14046131</c:v>
                </c:pt>
                <c:pt idx="8">
                  <c:v>13610622</c:v>
                </c:pt>
                <c:pt idx="9">
                  <c:v>14414392</c:v>
                </c:pt>
                <c:pt idx="10">
                  <c:v>16315156</c:v>
                </c:pt>
                <c:pt idx="11">
                  <c:v>15912716</c:v>
                </c:pt>
                <c:pt idx="12">
                  <c:v>14552034</c:v>
                </c:pt>
                <c:pt idx="13">
                  <c:v>11861739</c:v>
                </c:pt>
                <c:pt idx="14">
                  <c:v>12349996</c:v>
                </c:pt>
                <c:pt idx="15">
                  <c:v>10461345</c:v>
                </c:pt>
                <c:pt idx="16">
                  <c:v>12752561</c:v>
                </c:pt>
                <c:pt idx="17">
                  <c:v>9805504</c:v>
                </c:pt>
                <c:pt idx="18">
                  <c:v>10278762</c:v>
                </c:pt>
                <c:pt idx="19">
                  <c:v>12121429</c:v>
                </c:pt>
                <c:pt idx="20">
                  <c:v>11762810</c:v>
                </c:pt>
                <c:pt idx="21">
                  <c:v>12578442</c:v>
                </c:pt>
                <c:pt idx="22">
                  <c:v>13526173</c:v>
                </c:pt>
                <c:pt idx="23">
                  <c:v>14232911</c:v>
                </c:pt>
                <c:pt idx="24">
                  <c:v>129795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1</c:v>
                </c:pt>
                <c:pt idx="1">
                  <c:v>2.62</c:v>
                </c:pt>
                <c:pt idx="2">
                  <c:v>2.61</c:v>
                </c:pt>
                <c:pt idx="3">
                  <c:v>2.68</c:v>
                </c:pt>
                <c:pt idx="4">
                  <c:v>2.65</c:v>
                </c:pt>
                <c:pt idx="5">
                  <c:v>2.64</c:v>
                </c:pt>
                <c:pt idx="6">
                  <c:v>2.61</c:v>
                </c:pt>
                <c:pt idx="7">
                  <c:v>2.62</c:v>
                </c:pt>
                <c:pt idx="8">
                  <c:v>2.69</c:v>
                </c:pt>
                <c:pt idx="9">
                  <c:v>2.76</c:v>
                </c:pt>
                <c:pt idx="10">
                  <c:v>2.62</c:v>
                </c:pt>
                <c:pt idx="11">
                  <c:v>2.72</c:v>
                </c:pt>
                <c:pt idx="12">
                  <c:v>2.73</c:v>
                </c:pt>
                <c:pt idx="13">
                  <c:v>2.74</c:v>
                </c:pt>
                <c:pt idx="14">
                  <c:v>2.56</c:v>
                </c:pt>
                <c:pt idx="15">
                  <c:v>2.54</c:v>
                </c:pt>
                <c:pt idx="16">
                  <c:v>2.29</c:v>
                </c:pt>
                <c:pt idx="17">
                  <c:v>2.6</c:v>
                </c:pt>
                <c:pt idx="18">
                  <c:v>2.63</c:v>
                </c:pt>
                <c:pt idx="19">
                  <c:v>2.56</c:v>
                </c:pt>
                <c:pt idx="20">
                  <c:v>2.56</c:v>
                </c:pt>
                <c:pt idx="21">
                  <c:v>2.6</c:v>
                </c:pt>
                <c:pt idx="22">
                  <c:v>2.54</c:v>
                </c:pt>
                <c:pt idx="23">
                  <c:v>2.51</c:v>
                </c:pt>
                <c:pt idx="24">
                  <c:v>2.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982</c:v>
                </c:pt>
                <c:pt idx="2">
                  <c:v>1758</c:v>
                </c:pt>
                <c:pt idx="3">
                  <c:v>156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2</c:v>
                </c:pt>
                <c:pt idx="2">
                  <c:v>204</c:v>
                </c:pt>
                <c:pt idx="3">
                  <c:v>2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94</c:v>
                </c:pt>
                <c:pt idx="3">
                  <c:v>9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83</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9</c:v>
                </c:pt>
                <c:pt idx="2">
                  <c:v>146</c:v>
                </c:pt>
                <c:pt idx="3">
                  <c:v>12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78.4"/>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02</c:v>
                </c:pt>
                <c:pt idx="3">
                  <c:v>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3</c:v>
                </c:pt>
                <c:pt idx="3">
                  <c:v>9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0</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02</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3</c:v>
                </c:pt>
                <c:pt idx="2">
                  <c:v>115</c:v>
                </c:pt>
                <c:pt idx="3">
                  <c:v>9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80</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1</c:v>
                </c:pt>
                <c:pt idx="2">
                  <c:v>183</c:v>
                </c:pt>
                <c:pt idx="3">
                  <c:v>1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92</c:v>
                </c:pt>
                <c:pt idx="2">
                  <c:v>402</c:v>
                </c:pt>
                <c:pt idx="3">
                  <c:v>54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2</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08</c:v>
                </c:pt>
                <c:pt idx="3">
                  <c:v>10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7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52.8"/>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9</c:v>
                </c:pt>
                <c:pt idx="3">
                  <c:v>8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1</c:v>
                </c:pt>
                <c:pt idx="3">
                  <c:v>11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5</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88</c:v>
                </c:pt>
                <c:pt idx="3">
                  <c:v>8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c:v>
                </c:pt>
                <c:pt idx="2">
                  <c:v>357</c:v>
                </c:pt>
                <c:pt idx="3">
                  <c:v>3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28.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2</c:v>
                </c:pt>
                <c:pt idx="3">
                  <c:v>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2</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0</c:v>
                </c:pt>
                <c:pt idx="2">
                  <c:v>139</c:v>
                </c:pt>
                <c:pt idx="3">
                  <c:v>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9</c:v>
                </c:pt>
                <c:pt idx="2">
                  <c:v>43</c:v>
                </c:pt>
                <c:pt idx="3">
                  <c:v>3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102</c:v>
                </c:pt>
                <c:pt idx="3">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8.0"/>
          <c:min val="30.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0</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89</c:v>
                </c:pt>
                <c:pt idx="3">
                  <c:v>7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5</c:v>
                </c:pt>
                <c:pt idx="2">
                  <c:v>136</c:v>
                </c:pt>
                <c:pt idx="3">
                  <c:v>12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2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292,7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139,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2,347,7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292778</c:v>
                </c:pt>
                <c:pt idx="1">
                  <c:v>40173825</c:v>
                </c:pt>
                <c:pt idx="2">
                  <c:v>38088749</c:v>
                </c:pt>
                <c:pt idx="3">
                  <c:v>35209421</c:v>
                </c:pt>
                <c:pt idx="4">
                  <c:v>41564507</c:v>
                </c:pt>
                <c:pt idx="5">
                  <c:v>36938181</c:v>
                </c:pt>
                <c:pt idx="6">
                  <c:v>34950543</c:v>
                </c:pt>
                <c:pt idx="7">
                  <c:v>41229828</c:v>
                </c:pt>
                <c:pt idx="8">
                  <c:v>41092481</c:v>
                </c:pt>
                <c:pt idx="9">
                  <c:v>45679233</c:v>
                </c:pt>
                <c:pt idx="10">
                  <c:v>48316435</c:v>
                </c:pt>
                <c:pt idx="11">
                  <c:v>51825748</c:v>
                </c:pt>
                <c:pt idx="12">
                  <c:v>50327114</c:v>
                </c:pt>
                <c:pt idx="13">
                  <c:v>41139433</c:v>
                </c:pt>
                <c:pt idx="14">
                  <c:v>39547902</c:v>
                </c:pt>
                <c:pt idx="15">
                  <c:v>36307579</c:v>
                </c:pt>
                <c:pt idx="16">
                  <c:v>42974534</c:v>
                </c:pt>
                <c:pt idx="17">
                  <c:v>36818456</c:v>
                </c:pt>
                <c:pt idx="18">
                  <c:v>36931110</c:v>
                </c:pt>
                <c:pt idx="19">
                  <c:v>43492714</c:v>
                </c:pt>
                <c:pt idx="20">
                  <c:v>41496249</c:v>
                </c:pt>
                <c:pt idx="21">
                  <c:v>47430856</c:v>
                </c:pt>
                <c:pt idx="22">
                  <c:v>50529551</c:v>
                </c:pt>
                <c:pt idx="23">
                  <c:v>52927532</c:v>
                </c:pt>
                <c:pt idx="24">
                  <c:v>523477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58</c:v>
                </c:pt>
                <c:pt idx="1">
                  <c:v>3.49</c:v>
                </c:pt>
                <c:pt idx="2">
                  <c:v>3.37</c:v>
                </c:pt>
                <c:pt idx="3">
                  <c:v>3.31</c:v>
                </c:pt>
                <c:pt idx="4">
                  <c:v>3.22</c:v>
                </c:pt>
                <c:pt idx="5">
                  <c:v>3.44</c:v>
                </c:pt>
                <c:pt idx="6">
                  <c:v>3.41</c:v>
                </c:pt>
                <c:pt idx="7">
                  <c:v>3.5</c:v>
                </c:pt>
                <c:pt idx="8">
                  <c:v>3.54</c:v>
                </c:pt>
                <c:pt idx="9">
                  <c:v>3.52</c:v>
                </c:pt>
                <c:pt idx="10">
                  <c:v>3.51</c:v>
                </c:pt>
                <c:pt idx="11">
                  <c:v>3.45</c:v>
                </c:pt>
                <c:pt idx="12">
                  <c:v>3.44</c:v>
                </c:pt>
                <c:pt idx="13">
                  <c:v>3.39</c:v>
                </c:pt>
                <c:pt idx="14">
                  <c:v>3.28</c:v>
                </c:pt>
                <c:pt idx="15">
                  <c:v>3.23</c:v>
                </c:pt>
                <c:pt idx="16">
                  <c:v>3.22</c:v>
                </c:pt>
                <c:pt idx="17">
                  <c:v>3.31</c:v>
                </c:pt>
                <c:pt idx="18">
                  <c:v>3.36</c:v>
                </c:pt>
                <c:pt idx="19">
                  <c:v>3.4</c:v>
                </c:pt>
                <c:pt idx="20">
                  <c:v>3.36</c:v>
                </c:pt>
                <c:pt idx="21">
                  <c:v>3.37</c:v>
                </c:pt>
                <c:pt idx="22">
                  <c:v>3.4</c:v>
                </c:pt>
                <c:pt idx="23">
                  <c:v>3.39</c:v>
                </c:pt>
                <c:pt idx="24">
                  <c:v>3.3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28</c:v>
                </c:pt>
                <c:pt idx="3">
                  <c:v>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1</c:v>
                </c:pt>
                <c:pt idx="2">
                  <c:v>66</c:v>
                </c:pt>
                <c:pt idx="3">
                  <c:v>5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1</c:v>
                </c:pt>
                <c:pt idx="2">
                  <c:v>143</c:v>
                </c:pt>
                <c:pt idx="3">
                  <c:v>1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4</c:v>
                </c:pt>
                <c:pt idx="2">
                  <c:v>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55</c:v>
                </c:pt>
                <c:pt idx="2">
                  <c:v>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8.0"/>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77</c:v>
                </c:pt>
                <c:pt idx="2">
                  <c:v>91</c:v>
                </c:pt>
                <c:pt idx="3">
                  <c:v>1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6</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1</c:v>
                </c:pt>
                <c:pt idx="2">
                  <c:v>45</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8</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165</c:v>
                </c:pt>
                <c:pt idx="2">
                  <c:v>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8.0"/>
          <c:min val="2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0</c:v>
                </c:pt>
                <c:pt idx="2">
                  <c:v>1670</c:v>
                </c:pt>
                <c:pt idx="3">
                  <c:v>229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12</c:v>
                </c:pt>
                <c:pt idx="3">
                  <c:v>12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95</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87</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2.7999999999997"/>
          <c:min val="4.8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5</c:v>
                </c:pt>
                <c:pt idx="2">
                  <c:v>116</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c:v>
                </c:pt>
                <c:pt idx="2">
                  <c:v>84</c:v>
                </c:pt>
                <c:pt idx="3">
                  <c:v>8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0</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112</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8</c:v>
                </c:pt>
                <c:pt idx="3">
                  <c:v>11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87</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5</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0</c:v>
                </c:pt>
                <c:pt idx="2">
                  <c:v>5</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6</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8.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1</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8</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5</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5</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54</c:v>
                </c:pt>
                <c:pt idx="3">
                  <c:v>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82</c:v>
                </c:pt>
                <c:pt idx="2">
                  <c:v>1517</c:v>
                </c:pt>
                <c:pt idx="3">
                  <c:v>9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9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0.3999999999999"/>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1,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6,4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7,5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1686</c:v>
                </c:pt>
                <c:pt idx="1">
                  <c:v>154994</c:v>
                </c:pt>
                <c:pt idx="2">
                  <c:v>179441</c:v>
                </c:pt>
                <c:pt idx="3">
                  <c:v>142865</c:v>
                </c:pt>
                <c:pt idx="4">
                  <c:v>159374</c:v>
                </c:pt>
                <c:pt idx="5">
                  <c:v>154534</c:v>
                </c:pt>
                <c:pt idx="6">
                  <c:v>154682</c:v>
                </c:pt>
                <c:pt idx="7">
                  <c:v>192111</c:v>
                </c:pt>
                <c:pt idx="8">
                  <c:v>151765</c:v>
                </c:pt>
                <c:pt idx="9">
                  <c:v>172309</c:v>
                </c:pt>
                <c:pt idx="10">
                  <c:v>157233</c:v>
                </c:pt>
                <c:pt idx="11">
                  <c:v>200259</c:v>
                </c:pt>
                <c:pt idx="12">
                  <c:v>161931</c:v>
                </c:pt>
                <c:pt idx="13">
                  <c:v>146430</c:v>
                </c:pt>
                <c:pt idx="14">
                  <c:v>152634</c:v>
                </c:pt>
                <c:pt idx="15">
                  <c:v>130712</c:v>
                </c:pt>
                <c:pt idx="16">
                  <c:v>150633</c:v>
                </c:pt>
                <c:pt idx="17">
                  <c:v>130255</c:v>
                </c:pt>
                <c:pt idx="18">
                  <c:v>132282</c:v>
                </c:pt>
                <c:pt idx="19">
                  <c:v>123908</c:v>
                </c:pt>
                <c:pt idx="20">
                  <c:v>121427</c:v>
                </c:pt>
                <c:pt idx="21">
                  <c:v>149025</c:v>
                </c:pt>
                <c:pt idx="22">
                  <c:v>142986</c:v>
                </c:pt>
                <c:pt idx="23">
                  <c:v>153483</c:v>
                </c:pt>
                <c:pt idx="24">
                  <c:v>13755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8</c:v>
                </c:pt>
                <c:pt idx="1">
                  <c:v>2.06</c:v>
                </c:pt>
                <c:pt idx="2">
                  <c:v>2.2</c:v>
                </c:pt>
                <c:pt idx="3">
                  <c:v>2.06</c:v>
                </c:pt>
                <c:pt idx="4">
                  <c:v>2.13</c:v>
                </c:pt>
                <c:pt idx="5">
                  <c:v>2.18</c:v>
                </c:pt>
                <c:pt idx="6">
                  <c:v>2.3</c:v>
                </c:pt>
                <c:pt idx="7">
                  <c:v>2.26</c:v>
                </c:pt>
                <c:pt idx="8">
                  <c:v>2.15</c:v>
                </c:pt>
                <c:pt idx="9">
                  <c:v>2.21</c:v>
                </c:pt>
                <c:pt idx="10">
                  <c:v>2.14</c:v>
                </c:pt>
                <c:pt idx="11">
                  <c:v>1.98</c:v>
                </c:pt>
                <c:pt idx="12">
                  <c:v>1.77</c:v>
                </c:pt>
                <c:pt idx="13">
                  <c:v>1.89</c:v>
                </c:pt>
                <c:pt idx="14">
                  <c:v>1.82</c:v>
                </c:pt>
                <c:pt idx="15">
                  <c:v>1.93</c:v>
                </c:pt>
                <c:pt idx="16">
                  <c:v>1.98</c:v>
                </c:pt>
                <c:pt idx="17">
                  <c:v>1.77</c:v>
                </c:pt>
                <c:pt idx="18">
                  <c:v>2.01</c:v>
                </c:pt>
                <c:pt idx="19">
                  <c:v>1.8</c:v>
                </c:pt>
                <c:pt idx="20">
                  <c:v>1.8</c:v>
                </c:pt>
                <c:pt idx="21">
                  <c:v>1.86</c:v>
                </c:pt>
                <c:pt idx="22">
                  <c:v>1.84</c:v>
                </c:pt>
                <c:pt idx="23">
                  <c:v>1.85</c:v>
                </c:pt>
                <c:pt idx="24">
                  <c:v>1.7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5</c:v>
                </c:pt>
                <c:pt idx="3">
                  <c:v>8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86</c:v>
                </c:pt>
                <c:pt idx="3">
                  <c:v>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9</c:v>
                </c:pt>
                <c:pt idx="2">
                  <c:v>152</c:v>
                </c:pt>
                <c:pt idx="3">
                  <c:v>1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8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55</c:v>
                </c:pt>
                <c:pt idx="3">
                  <c:v>14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2.4"/>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2</c:v>
                </c:pt>
                <c:pt idx="3">
                  <c:v>11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6</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6</c:v>
                </c:pt>
                <c:pt idx="2">
                  <c:v>25</c:v>
                </c:pt>
                <c:pt idx="3">
                  <c:v>2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1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2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8</c:v>
                </c:pt>
                <c:pt idx="2">
                  <c:v>124</c:v>
                </c:pt>
                <c:pt idx="3">
                  <c:v>11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102</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883383</c:v>
                </c:pt>
                <c:pt idx="2">
                  <c:v>1801100</c:v>
                </c:pt>
                <c:pt idx="3">
                  <c:v>1311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0</c:v>
                </c:pt>
                <c:pt idx="2">
                  <c:v>3</c:v>
                </c:pt>
                <c:pt idx="3">
                  <c:v>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9</c:v>
                </c:pt>
                <c:pt idx="3">
                  <c:v>1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66005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2</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1</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4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57</c:v>
                </c:pt>
                <c:pt idx="3">
                  <c:v>7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21</c:v>
                </c:pt>
                <c:pt idx="3">
                  <c:v>12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3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93</c:v>
                </c:pt>
                <c:pt idx="3">
                  <c:v>10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0</c:v>
                </c:pt>
                <c:pt idx="2">
                  <c:v>117</c:v>
                </c:pt>
                <c:pt idx="3">
                  <c:v>12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99</c:v>
                </c:pt>
                <c:pt idx="3">
                  <c:v>9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5</c:v>
                </c:pt>
                <c:pt idx="2">
                  <c:v>28</c:v>
                </c:pt>
                <c:pt idx="3">
                  <c:v>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8</c:v>
                </c:pt>
                <c:pt idx="2">
                  <c:v>40</c:v>
                </c:pt>
                <c:pt idx="3">
                  <c:v>2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6.0"/>
          <c:min val="19.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33</c:v>
                </c:pt>
                <c:pt idx="3">
                  <c:v>1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6</c:v>
                </c:pt>
                <c:pt idx="2">
                  <c:v>160</c:v>
                </c:pt>
                <c:pt idx="3">
                  <c:v>1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26</c:v>
                </c:pt>
                <c:pt idx="3">
                  <c:v>12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6</c:v>
                </c:pt>
                <c:pt idx="2">
                  <c:v>91</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9</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0</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2.0"/>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3</c:v>
                </c:pt>
                <c:pt idx="2">
                  <c:v>83</c:v>
                </c:pt>
                <c:pt idx="3">
                  <c:v>6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75</c:v>
                </c:pt>
                <c:pt idx="3">
                  <c:v>9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0</c:v>
                </c:pt>
                <c:pt idx="2">
                  <c:v>71</c:v>
                </c:pt>
                <c:pt idx="3">
                  <c:v>4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88</c:v>
                </c:pt>
                <c:pt idx="3">
                  <c:v>8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102</c:v>
                </c:pt>
                <c:pt idx="3">
                  <c:v>11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9.2"/>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09</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2</c:v>
                </c:pt>
                <c:pt idx="2">
                  <c:v>138</c:v>
                </c:pt>
                <c:pt idx="3">
                  <c:v>17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3</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17</c:v>
                </c:pt>
                <c:pt idx="3">
                  <c:v>12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06</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9,6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8,0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38,8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09609</c:v>
                </c:pt>
                <c:pt idx="1">
                  <c:v>662233</c:v>
                </c:pt>
                <c:pt idx="2">
                  <c:v>1121456</c:v>
                </c:pt>
                <c:pt idx="3">
                  <c:v>1406384</c:v>
                </c:pt>
                <c:pt idx="4">
                  <c:v>1523420</c:v>
                </c:pt>
                <c:pt idx="5">
                  <c:v>669487</c:v>
                </c:pt>
                <c:pt idx="6">
                  <c:v>688722</c:v>
                </c:pt>
                <c:pt idx="7">
                  <c:v>748980</c:v>
                </c:pt>
                <c:pt idx="8">
                  <c:v>687257</c:v>
                </c:pt>
                <c:pt idx="9">
                  <c:v>742442</c:v>
                </c:pt>
                <c:pt idx="10">
                  <c:v>924554</c:v>
                </c:pt>
                <c:pt idx="11">
                  <c:v>1158118</c:v>
                </c:pt>
                <c:pt idx="12">
                  <c:v>998619</c:v>
                </c:pt>
                <c:pt idx="13">
                  <c:v>858022</c:v>
                </c:pt>
                <c:pt idx="14">
                  <c:v>996648</c:v>
                </c:pt>
                <c:pt idx="15">
                  <c:v>1938193</c:v>
                </c:pt>
                <c:pt idx="16">
                  <c:v>5028866</c:v>
                </c:pt>
                <c:pt idx="17">
                  <c:v>980939</c:v>
                </c:pt>
                <c:pt idx="18">
                  <c:v>838760</c:v>
                </c:pt>
                <c:pt idx="19">
                  <c:v>977156</c:v>
                </c:pt>
                <c:pt idx="20">
                  <c:v>971450</c:v>
                </c:pt>
                <c:pt idx="21">
                  <c:v>1145374</c:v>
                </c:pt>
                <c:pt idx="22">
                  <c:v>1185848</c:v>
                </c:pt>
                <c:pt idx="23">
                  <c:v>1499406</c:v>
                </c:pt>
                <c:pt idx="24">
                  <c:v>13388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86</c:v>
                </c:pt>
                <c:pt idx="1">
                  <c:v>6.17</c:v>
                </c:pt>
                <c:pt idx="2">
                  <c:v>2.27</c:v>
                </c:pt>
                <c:pt idx="3">
                  <c:v>1.5</c:v>
                </c:pt>
                <c:pt idx="4">
                  <c:v>1.34</c:v>
                </c:pt>
                <c:pt idx="5">
                  <c:v>4.58</c:v>
                </c:pt>
                <c:pt idx="6">
                  <c:v>6.37</c:v>
                </c:pt>
                <c:pt idx="7">
                  <c:v>7.16</c:v>
                </c:pt>
                <c:pt idx="8">
                  <c:v>7.55</c:v>
                </c:pt>
                <c:pt idx="9">
                  <c:v>6.83</c:v>
                </c:pt>
                <c:pt idx="10">
                  <c:v>6.63</c:v>
                </c:pt>
                <c:pt idx="11">
                  <c:v>5.33</c:v>
                </c:pt>
                <c:pt idx="12">
                  <c:v>5.53</c:v>
                </c:pt>
                <c:pt idx="13">
                  <c:v>5.03</c:v>
                </c:pt>
                <c:pt idx="14">
                  <c:v>4.56</c:v>
                </c:pt>
                <c:pt idx="15">
                  <c:v>4.19</c:v>
                </c:pt>
                <c:pt idx="16">
                  <c:v>3.19</c:v>
                </c:pt>
                <c:pt idx="17">
                  <c:v>4.59</c:v>
                </c:pt>
                <c:pt idx="18">
                  <c:v>5.97</c:v>
                </c:pt>
                <c:pt idx="19">
                  <c:v>5.4</c:v>
                </c:pt>
                <c:pt idx="20">
                  <c:v>5.47</c:v>
                </c:pt>
                <c:pt idx="21">
                  <c:v>5.39</c:v>
                </c:pt>
                <c:pt idx="22">
                  <c:v>5.87</c:v>
                </c:pt>
                <c:pt idx="23">
                  <c:v>4.04</c:v>
                </c:pt>
                <c:pt idx="24">
                  <c:v>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34</c:v>
                </c:pt>
                <c:pt idx="2">
                  <c:v>468</c:v>
                </c:pt>
                <c:pt idx="3">
                  <c:v>468</c:v>
                </c:pt>
              </c:numCache>
            </c:numRef>
          </c:val>
          <c:smooth val="0"/>
          <c:extLst>
            <c:ext xmlns:c16="http://schemas.microsoft.com/office/drawing/2014/chart" uri="{C3380CC4-5D6E-409C-BE32-E72D297353CC}">
              <c16:uniqueId val="{00000001-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56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4</c:v>
                </c:pt>
                <c:pt idx="2">
                  <c:v>63</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538</c:v>
                </c:pt>
                <c:pt idx="2">
                  <c:v>8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45.6"/>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29</c:v>
                </c:pt>
                <c:pt idx="2">
                  <c:v>69</c:v>
                </c:pt>
                <c:pt idx="3">
                  <c:v>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82</c:v>
                </c:pt>
                <c:pt idx="2">
                  <c:v>50</c:v>
                </c:pt>
                <c:pt idx="3">
                  <c:v>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898</c:v>
                </c:pt>
                <c:pt idx="2">
                  <c:v>2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077.6"/>
          <c:min val="23.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98</c:v>
                </c:pt>
                <c:pt idx="3">
                  <c:v>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80</c:v>
                </c:pt>
                <c:pt idx="3">
                  <c:v>5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0</c:v>
                </c:pt>
                <c:pt idx="2">
                  <c:v>138</c:v>
                </c:pt>
                <c:pt idx="3">
                  <c:v>21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1</c:v>
                </c:pt>
                <c:pt idx="2">
                  <c:v>768</c:v>
                </c:pt>
                <c:pt idx="3">
                  <c:v>5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ilk Effect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38</c:v>
                </c:pt>
                <c:pt idx="3">
                  <c:v>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069.2"/>
          <c:min val="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13</c:v>
                </c:pt>
                <c:pt idx="3">
                  <c:v>15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09</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7</c:v>
                </c:pt>
                <c:pt idx="3">
                  <c:v>11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79</c:v>
                </c:pt>
                <c:pt idx="3">
                  <c:v>9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ilk Effect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3</c:v>
                </c:pt>
                <c:pt idx="2">
                  <c:v>85</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7.2"/>
          <c:min val="6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03</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9</c:v>
                </c:pt>
                <c:pt idx="3">
                  <c:v>10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22</c:v>
                </c:pt>
                <c:pt idx="3">
                  <c:v>149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c:v>
                </c:pt>
                <c:pt idx="2">
                  <c:v>5</c:v>
                </c:pt>
                <c:pt idx="3">
                  <c:v>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98.8"/>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110</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3</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64</c:v>
                </c:pt>
                <c:pt idx="3">
                  <c:v>8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102</c:v>
                </c:pt>
                <c:pt idx="3">
                  <c:v>12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7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7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760</c:v>
                </c:pt>
                <c:pt idx="1">
                  <c:v>12451</c:v>
                </c:pt>
                <c:pt idx="2">
                  <c:v>9121</c:v>
                </c:pt>
                <c:pt idx="3">
                  <c:v>9823</c:v>
                </c:pt>
                <c:pt idx="4">
                  <c:v>10070</c:v>
                </c:pt>
                <c:pt idx="5">
                  <c:v>11333</c:v>
                </c:pt>
                <c:pt idx="6">
                  <c:v>9469</c:v>
                </c:pt>
                <c:pt idx="7">
                  <c:v>9725</c:v>
                </c:pt>
                <c:pt idx="8">
                  <c:v>13375</c:v>
                </c:pt>
                <c:pt idx="9">
                  <c:v>12980</c:v>
                </c:pt>
                <c:pt idx="10">
                  <c:v>8911</c:v>
                </c:pt>
                <c:pt idx="11">
                  <c:v>7871</c:v>
                </c:pt>
                <c:pt idx="12">
                  <c:v>6553</c:v>
                </c:pt>
                <c:pt idx="13">
                  <c:v>4665</c:v>
                </c:pt>
                <c:pt idx="14">
                  <c:v>5177</c:v>
                </c:pt>
                <c:pt idx="15">
                  <c:v>7756</c:v>
                </c:pt>
                <c:pt idx="16">
                  <c:v>9550</c:v>
                </c:pt>
                <c:pt idx="17">
                  <c:v>8788</c:v>
                </c:pt>
                <c:pt idx="18">
                  <c:v>16981</c:v>
                </c:pt>
                <c:pt idx="19">
                  <c:v>12624</c:v>
                </c:pt>
                <c:pt idx="20">
                  <c:v>18980</c:v>
                </c:pt>
                <c:pt idx="21">
                  <c:v>16247</c:v>
                </c:pt>
                <c:pt idx="22">
                  <c:v>14318</c:v>
                </c:pt>
                <c:pt idx="23">
                  <c:v>20557</c:v>
                </c:pt>
                <c:pt idx="24">
                  <c:v>147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25</c:v>
                </c:pt>
                <c:pt idx="2">
                  <c:v>1.01</c:v>
                </c:pt>
                <c:pt idx="3">
                  <c:v>0.78</c:v>
                </c:pt>
                <c:pt idx="4">
                  <c:v>1.01</c:v>
                </c:pt>
                <c:pt idx="5">
                  <c:v>1.02</c:v>
                </c:pt>
                <c:pt idx="6">
                  <c:v>1.0</c:v>
                </c:pt>
                <c:pt idx="7">
                  <c:v>0.91</c:v>
                </c:pt>
                <c:pt idx="8">
                  <c:v>0.9</c:v>
                </c:pt>
                <c:pt idx="9">
                  <c:v>0.84</c:v>
                </c:pt>
                <c:pt idx="10">
                  <c:v>0.79</c:v>
                </c:pt>
                <c:pt idx="11">
                  <c:v>0.75</c:v>
                </c:pt>
                <c:pt idx="12">
                  <c:v>0.69</c:v>
                </c:pt>
                <c:pt idx="13">
                  <c:v>0.76</c:v>
                </c:pt>
                <c:pt idx="14">
                  <c:v>0.9</c:v>
                </c:pt>
                <c:pt idx="15">
                  <c:v>1.55</c:v>
                </c:pt>
                <c:pt idx="16">
                  <c:v>1.58</c:v>
                </c:pt>
                <c:pt idx="17">
                  <c:v>1.19</c:v>
                </c:pt>
                <c:pt idx="18">
                  <c:v>1.72</c:v>
                </c:pt>
                <c:pt idx="19">
                  <c:v>1.34</c:v>
                </c:pt>
                <c:pt idx="20">
                  <c:v>1.75</c:v>
                </c:pt>
                <c:pt idx="21">
                  <c:v>1.54</c:v>
                </c:pt>
                <c:pt idx="22">
                  <c:v>1.37</c:v>
                </c:pt>
                <c:pt idx="23">
                  <c:v>1.43</c:v>
                </c:pt>
                <c:pt idx="24">
                  <c:v>1.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7</c:v>
                </c:pt>
                <c:pt idx="2">
                  <c:v>1530</c:v>
                </c:pt>
                <c:pt idx="3">
                  <c:v>13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71</c:v>
                </c:pt>
                <c:pt idx="3">
                  <c:v>17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100</c:v>
                </c:pt>
                <c:pt idx="3">
                  <c:v>10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82</c:v>
                </c:pt>
                <c:pt idx="3">
                  <c:v>6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9</c:v>
                </c:pt>
                <c:pt idx="3">
                  <c:v>6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92.4"/>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1</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105</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2</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23</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79</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6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8</c:v>
                </c:pt>
                <c:pt idx="2">
                  <c:v>186</c:v>
                </c:pt>
                <c:pt idx="3">
                  <c:v>1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76</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3</c:v>
                </c:pt>
                <c:pt idx="2">
                  <c:v>122</c:v>
                </c:pt>
                <c:pt idx="3">
                  <c:v>1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37</c:v>
                </c:pt>
                <c:pt idx="3">
                  <c:v>2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2</c:v>
                </c:pt>
                <c:pt idx="2">
                  <c:v>111</c:v>
                </c:pt>
                <c:pt idx="3">
                  <c:v>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3.2"/>
          <c:min val="2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3</c:v>
                </c:pt>
                <c:pt idx="2">
                  <c:v>83</c:v>
                </c:pt>
                <c:pt idx="3">
                  <c:v>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1</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6</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2</c:v>
                </c:pt>
                <c:pt idx="3">
                  <c:v>9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0</c:v>
                </c:pt>
                <c:pt idx="2">
                  <c:v>90</c:v>
                </c:pt>
                <c:pt idx="3">
                  <c:v>8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7</c:v>
                </c:pt>
                <c:pt idx="2">
                  <c:v>132</c:v>
                </c:pt>
                <c:pt idx="3">
                  <c:v>12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8</c:v>
                </c:pt>
                <c:pt idx="2">
                  <c:v>8</c:v>
                </c:pt>
                <c:pt idx="3">
                  <c:v>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8</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90</c:v>
                </c:pt>
                <c:pt idx="3">
                  <c:v>7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1</c:v>
                </c:pt>
                <c:pt idx="2">
                  <c:v>152</c:v>
                </c:pt>
                <c:pt idx="3">
                  <c:v>15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6.0"/>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28</c:v>
                </c:pt>
                <c:pt idx="3">
                  <c:v>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1</c:v>
                </c:pt>
                <c:pt idx="2">
                  <c:v>66</c:v>
                </c:pt>
                <c:pt idx="3">
                  <c:v>5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1</c:v>
                </c:pt>
                <c:pt idx="2">
                  <c:v>143</c:v>
                </c:pt>
                <c:pt idx="3">
                  <c:v>1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4</c:v>
                </c:pt>
                <c:pt idx="2">
                  <c:v>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55</c:v>
                </c:pt>
                <c:pt idx="2">
                  <c:v>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8.0"/>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77</c:v>
                </c:pt>
                <c:pt idx="2">
                  <c:v>91</c:v>
                </c:pt>
                <c:pt idx="3">
                  <c:v>1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6</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1</c:v>
                </c:pt>
                <c:pt idx="2">
                  <c:v>45</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8</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165</c:v>
                </c:pt>
                <c:pt idx="2">
                  <c:v>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8.0"/>
          <c:min val="2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60,0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99,4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30,0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60009</c:v>
                </c:pt>
                <c:pt idx="1">
                  <c:v>483095</c:v>
                </c:pt>
                <c:pt idx="2">
                  <c:v>498685</c:v>
                </c:pt>
                <c:pt idx="3">
                  <c:v>420395</c:v>
                </c:pt>
                <c:pt idx="4">
                  <c:v>428351</c:v>
                </c:pt>
                <c:pt idx="5">
                  <c:v>465459</c:v>
                </c:pt>
                <c:pt idx="6">
                  <c:v>490049</c:v>
                </c:pt>
                <c:pt idx="7">
                  <c:v>482780</c:v>
                </c:pt>
                <c:pt idx="8">
                  <c:v>445253</c:v>
                </c:pt>
                <c:pt idx="9">
                  <c:v>554451</c:v>
                </c:pt>
                <c:pt idx="10">
                  <c:v>555202</c:v>
                </c:pt>
                <c:pt idx="11">
                  <c:v>550675</c:v>
                </c:pt>
                <c:pt idx="12">
                  <c:v>547466</c:v>
                </c:pt>
                <c:pt idx="13">
                  <c:v>499427</c:v>
                </c:pt>
                <c:pt idx="14">
                  <c:v>465332</c:v>
                </c:pt>
                <c:pt idx="15">
                  <c:v>466168</c:v>
                </c:pt>
                <c:pt idx="16">
                  <c:v>452875</c:v>
                </c:pt>
                <c:pt idx="17">
                  <c:v>497800</c:v>
                </c:pt>
                <c:pt idx="18">
                  <c:v>570018</c:v>
                </c:pt>
                <c:pt idx="19">
                  <c:v>703626</c:v>
                </c:pt>
                <c:pt idx="20">
                  <c:v>709372</c:v>
                </c:pt>
                <c:pt idx="21">
                  <c:v>744295</c:v>
                </c:pt>
                <c:pt idx="22">
                  <c:v>752398</c:v>
                </c:pt>
                <c:pt idx="23">
                  <c:v>772101</c:v>
                </c:pt>
                <c:pt idx="24">
                  <c:v>73003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85</c:v>
                </c:pt>
                <c:pt idx="1">
                  <c:v>0.85</c:v>
                </c:pt>
                <c:pt idx="2">
                  <c:v>0.66</c:v>
                </c:pt>
                <c:pt idx="3">
                  <c:v>0.58</c:v>
                </c:pt>
                <c:pt idx="4">
                  <c:v>0.72</c:v>
                </c:pt>
                <c:pt idx="5">
                  <c:v>0.79</c:v>
                </c:pt>
                <c:pt idx="6">
                  <c:v>0.75</c:v>
                </c:pt>
                <c:pt idx="7">
                  <c:v>0.76</c:v>
                </c:pt>
                <c:pt idx="8">
                  <c:v>0.75</c:v>
                </c:pt>
                <c:pt idx="9">
                  <c:v>0.74</c:v>
                </c:pt>
                <c:pt idx="10">
                  <c:v>0.82</c:v>
                </c:pt>
                <c:pt idx="11">
                  <c:v>0.75</c:v>
                </c:pt>
                <c:pt idx="12">
                  <c:v>0.87</c:v>
                </c:pt>
                <c:pt idx="13">
                  <c:v>0.81</c:v>
                </c:pt>
                <c:pt idx="14">
                  <c:v>0.72</c:v>
                </c:pt>
                <c:pt idx="15">
                  <c:v>0.66</c:v>
                </c:pt>
                <c:pt idx="16">
                  <c:v>0.74</c:v>
                </c:pt>
                <c:pt idx="17">
                  <c:v>0.74</c:v>
                </c:pt>
                <c:pt idx="18">
                  <c:v>0.85</c:v>
                </c:pt>
                <c:pt idx="19">
                  <c:v>0.89</c:v>
                </c:pt>
                <c:pt idx="20">
                  <c:v>0.94</c:v>
                </c:pt>
                <c:pt idx="21">
                  <c:v>0.94</c:v>
                </c:pt>
                <c:pt idx="22">
                  <c:v>0.84</c:v>
                </c:pt>
                <c:pt idx="23">
                  <c:v>0.8</c:v>
                </c:pt>
                <c:pt idx="24">
                  <c:v>0.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40</c:v>
                </c:pt>
                <c:pt idx="2">
                  <c:v>261</c:v>
                </c:pt>
                <c:pt idx="3">
                  <c:v>1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2</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9</c:v>
                </c:pt>
                <c:pt idx="2">
                  <c:v>41</c:v>
                </c:pt>
                <c:pt idx="3">
                  <c:v>12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1</c:v>
                </c:pt>
                <c:pt idx="2">
                  <c:v>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8</c:v>
                </c:pt>
                <c:pt idx="2">
                  <c:v>2</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13.2"/>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7</c:v>
                </c:pt>
                <c:pt idx="2">
                  <c:v>120</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1</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0</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29</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2</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4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8</c:v>
                </c:pt>
                <c:pt idx="3">
                  <c:v>11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87</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5</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0</c:v>
                </c:pt>
                <c:pt idx="2">
                  <c:v>5</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6</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8.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1</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8</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5</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5</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54</c:v>
                </c:pt>
                <c:pt idx="3">
                  <c:v>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7</c:v>
                </c:pt>
                <c:pt idx="2">
                  <c:v>36</c:v>
                </c:pt>
                <c:pt idx="3">
                  <c:v>3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85672</c:v>
                </c:pt>
                <c:pt idx="2">
                  <c:v>817511</c:v>
                </c:pt>
                <c:pt idx="3">
                  <c:v>68644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54</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62</c:v>
                </c:pt>
                <c:pt idx="2">
                  <c:v>261</c:v>
                </c:pt>
                <c:pt idx="3">
                  <c:v>21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81013.2"/>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8</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19,5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53,9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20,8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19547</c:v>
                </c:pt>
                <c:pt idx="1">
                  <c:v>2077524</c:v>
                </c:pt>
                <c:pt idx="2">
                  <c:v>2103143</c:v>
                </c:pt>
                <c:pt idx="3">
                  <c:v>2129566</c:v>
                </c:pt>
                <c:pt idx="4">
                  <c:v>2548254</c:v>
                </c:pt>
                <c:pt idx="5">
                  <c:v>2503887</c:v>
                </c:pt>
                <c:pt idx="6">
                  <c:v>2444160</c:v>
                </c:pt>
                <c:pt idx="7">
                  <c:v>2407774</c:v>
                </c:pt>
                <c:pt idx="8">
                  <c:v>2466164</c:v>
                </c:pt>
                <c:pt idx="9">
                  <c:v>2618509</c:v>
                </c:pt>
                <c:pt idx="10">
                  <c:v>2625586</c:v>
                </c:pt>
                <c:pt idx="11">
                  <c:v>3101665</c:v>
                </c:pt>
                <c:pt idx="12">
                  <c:v>2496834</c:v>
                </c:pt>
                <c:pt idx="13">
                  <c:v>2253970</c:v>
                </c:pt>
                <c:pt idx="14">
                  <c:v>2328602</c:v>
                </c:pt>
                <c:pt idx="15">
                  <c:v>2288820</c:v>
                </c:pt>
                <c:pt idx="16">
                  <c:v>2199523</c:v>
                </c:pt>
                <c:pt idx="17">
                  <c:v>2212474</c:v>
                </c:pt>
                <c:pt idx="18">
                  <c:v>2229430</c:v>
                </c:pt>
                <c:pt idx="19">
                  <c:v>2553347</c:v>
                </c:pt>
                <c:pt idx="20">
                  <c:v>2744929</c:v>
                </c:pt>
                <c:pt idx="21">
                  <c:v>2820767</c:v>
                </c:pt>
                <c:pt idx="22">
                  <c:v>3046326</c:v>
                </c:pt>
                <c:pt idx="23">
                  <c:v>3567498</c:v>
                </c:pt>
                <c:pt idx="24">
                  <c:v>302089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08</c:v>
                </c:pt>
                <c:pt idx="1">
                  <c:v>2.04</c:v>
                </c:pt>
                <c:pt idx="2">
                  <c:v>2.08</c:v>
                </c:pt>
                <c:pt idx="3">
                  <c:v>2.1</c:v>
                </c:pt>
                <c:pt idx="4">
                  <c:v>2.25</c:v>
                </c:pt>
                <c:pt idx="5">
                  <c:v>2.3</c:v>
                </c:pt>
                <c:pt idx="6">
                  <c:v>1.92</c:v>
                </c:pt>
                <c:pt idx="7">
                  <c:v>2.34</c:v>
                </c:pt>
                <c:pt idx="8">
                  <c:v>2.43</c:v>
                </c:pt>
                <c:pt idx="9">
                  <c:v>2.22</c:v>
                </c:pt>
                <c:pt idx="10">
                  <c:v>2.28</c:v>
                </c:pt>
                <c:pt idx="11">
                  <c:v>2.02</c:v>
                </c:pt>
                <c:pt idx="12">
                  <c:v>2.36</c:v>
                </c:pt>
                <c:pt idx="13">
                  <c:v>2.36</c:v>
                </c:pt>
                <c:pt idx="14">
                  <c:v>2.25</c:v>
                </c:pt>
                <c:pt idx="15">
                  <c:v>2.18</c:v>
                </c:pt>
                <c:pt idx="16">
                  <c:v>2.23</c:v>
                </c:pt>
                <c:pt idx="17">
                  <c:v>2.32</c:v>
                </c:pt>
                <c:pt idx="18">
                  <c:v>2.29</c:v>
                </c:pt>
                <c:pt idx="19">
                  <c:v>2.12</c:v>
                </c:pt>
                <c:pt idx="20">
                  <c:v>2.34</c:v>
                </c:pt>
                <c:pt idx="21">
                  <c:v>2.39</c:v>
                </c:pt>
                <c:pt idx="22">
                  <c:v>2.38</c:v>
                </c:pt>
                <c:pt idx="23">
                  <c:v>2.06</c:v>
                </c:pt>
                <c:pt idx="24">
                  <c:v>2.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0</c:v>
                </c:pt>
                <c:pt idx="3">
                  <c:v>7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83</c:v>
                </c:pt>
                <c:pt idx="3">
                  <c:v>6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5</c:v>
                </c:pt>
                <c:pt idx="2">
                  <c:v>212</c:v>
                </c:pt>
                <c:pt idx="3">
                  <c:v>25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86</c:v>
                </c:pt>
                <c:pt idx="3">
                  <c:v>7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46</c:v>
                </c:pt>
                <c:pt idx="3">
                  <c:v>14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8.4"/>
          <c:min val="5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5</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7</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7</c:v>
                </c:pt>
                <c:pt idx="3">
                  <c:v>11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c:v>
                </c:pt>
                <c:pt idx="2">
                  <c:v>21</c:v>
                </c:pt>
                <c:pt idx="3">
                  <c:v>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3</c:v>
                </c:pt>
                <c:pt idx="3">
                  <c:v>12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1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15.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6</c:v>
                </c:pt>
                <c:pt idx="2">
                  <c:v>123</c:v>
                </c:pt>
                <c:pt idx="3">
                  <c:v>10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101</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Jo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64</c:v>
                </c:pt>
                <c:pt idx="2">
                  <c:v>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2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52</c:v>
                </c:pt>
                <c:pt idx="3">
                  <c:v>14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2.4"/>
          <c:min val="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6</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9</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Jo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5</c:v>
                </c:pt>
                <c:pt idx="2">
                  <c:v>6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20</c:v>
                </c:pt>
                <c:pt idx="3">
                  <c:v>12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16</c:v>
                </c:pt>
                <c:pt idx="3">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99</c:v>
                </c:pt>
                <c:pt idx="3">
                  <c:v>11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5</c:v>
                </c:pt>
                <c:pt idx="2">
                  <c:v>112</c:v>
                </c:pt>
                <c:pt idx="3">
                  <c:v>12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8</c:v>
                </c:pt>
                <c:pt idx="2">
                  <c:v>122</c:v>
                </c:pt>
                <c:pt idx="3">
                  <c:v>1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58</c:v>
                </c:pt>
                <c:pt idx="2">
                  <c:v>16</c:v>
                </c:pt>
                <c:pt idx="3">
                  <c:v>3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7</c:v>
                </c:pt>
                <c:pt idx="2">
                  <c:v>43</c:v>
                </c:pt>
                <c:pt idx="3">
                  <c:v>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1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5</c:v>
                </c:pt>
                <c:pt idx="2">
                  <c:v>134</c:v>
                </c:pt>
                <c:pt idx="3">
                  <c:v>1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6</c:v>
                </c:pt>
                <c:pt idx="2">
                  <c:v>161</c:v>
                </c:pt>
                <c:pt idx="3">
                  <c:v>16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25</c:v>
                </c:pt>
                <c:pt idx="3">
                  <c:v>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01</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86</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08</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6</c:v>
                </c:pt>
                <c:pt idx="2">
                  <c:v>48</c:v>
                </c:pt>
                <c:pt idx="3">
                  <c:v>4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57</c:v>
                </c:pt>
                <c:pt idx="3">
                  <c:v>5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24</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c:v>
                </c:pt>
                <c:pt idx="2">
                  <c:v>23</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081</c:v>
                </c:pt>
                <c:pt idx="2">
                  <c:v>1956</c:v>
                </c:pt>
                <c:pt idx="3">
                  <c:v>20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7</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31,1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04,3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46,1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31155</c:v>
                </c:pt>
                <c:pt idx="1">
                  <c:v>977061</c:v>
                </c:pt>
                <c:pt idx="2">
                  <c:v>956129</c:v>
                </c:pt>
                <c:pt idx="3">
                  <c:v>883232</c:v>
                </c:pt>
                <c:pt idx="4">
                  <c:v>952084</c:v>
                </c:pt>
                <c:pt idx="5">
                  <c:v>943678</c:v>
                </c:pt>
                <c:pt idx="6">
                  <c:v>859963</c:v>
                </c:pt>
                <c:pt idx="7">
                  <c:v>957237</c:v>
                </c:pt>
                <c:pt idx="8">
                  <c:v>947759</c:v>
                </c:pt>
                <c:pt idx="9">
                  <c:v>1063147</c:v>
                </c:pt>
                <c:pt idx="10">
                  <c:v>1308840</c:v>
                </c:pt>
                <c:pt idx="11">
                  <c:v>1426413</c:v>
                </c:pt>
                <c:pt idx="12">
                  <c:v>1143300</c:v>
                </c:pt>
                <c:pt idx="13">
                  <c:v>1004302</c:v>
                </c:pt>
                <c:pt idx="14">
                  <c:v>1082596</c:v>
                </c:pt>
                <c:pt idx="15">
                  <c:v>954622</c:v>
                </c:pt>
                <c:pt idx="16">
                  <c:v>977181</c:v>
                </c:pt>
                <c:pt idx="17">
                  <c:v>931954</c:v>
                </c:pt>
                <c:pt idx="18">
                  <c:v>1013038</c:v>
                </c:pt>
                <c:pt idx="19">
                  <c:v>1353221</c:v>
                </c:pt>
                <c:pt idx="20">
                  <c:v>1181924</c:v>
                </c:pt>
                <c:pt idx="21">
                  <c:v>1166439</c:v>
                </c:pt>
                <c:pt idx="22">
                  <c:v>1210042</c:v>
                </c:pt>
                <c:pt idx="23">
                  <c:v>1414181</c:v>
                </c:pt>
                <c:pt idx="24">
                  <c:v>114619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8</c:v>
                </c:pt>
                <c:pt idx="1">
                  <c:v>2.77</c:v>
                </c:pt>
                <c:pt idx="2">
                  <c:v>2.8</c:v>
                </c:pt>
                <c:pt idx="3">
                  <c:v>2.77</c:v>
                </c:pt>
                <c:pt idx="4">
                  <c:v>2.88</c:v>
                </c:pt>
                <c:pt idx="5">
                  <c:v>2.92</c:v>
                </c:pt>
                <c:pt idx="6">
                  <c:v>2.67</c:v>
                </c:pt>
                <c:pt idx="7">
                  <c:v>2.84</c:v>
                </c:pt>
                <c:pt idx="8">
                  <c:v>2.84</c:v>
                </c:pt>
                <c:pt idx="9">
                  <c:v>2.7</c:v>
                </c:pt>
                <c:pt idx="10">
                  <c:v>2.51</c:v>
                </c:pt>
                <c:pt idx="11">
                  <c:v>2.51</c:v>
                </c:pt>
                <c:pt idx="12">
                  <c:v>2.59</c:v>
                </c:pt>
                <c:pt idx="13">
                  <c:v>2.48</c:v>
                </c:pt>
                <c:pt idx="14">
                  <c:v>2.25</c:v>
                </c:pt>
                <c:pt idx="15">
                  <c:v>2.37</c:v>
                </c:pt>
                <c:pt idx="16">
                  <c:v>2.37</c:v>
                </c:pt>
                <c:pt idx="17">
                  <c:v>2.34</c:v>
                </c:pt>
                <c:pt idx="18">
                  <c:v>2.42</c:v>
                </c:pt>
                <c:pt idx="19">
                  <c:v>2.17</c:v>
                </c:pt>
                <c:pt idx="20">
                  <c:v>2.28</c:v>
                </c:pt>
                <c:pt idx="21">
                  <c:v>2.36</c:v>
                </c:pt>
                <c:pt idx="22">
                  <c:v>2.48</c:v>
                </c:pt>
                <c:pt idx="23">
                  <c:v>2.56</c:v>
                </c:pt>
                <c:pt idx="24">
                  <c:v>2.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72</c:v>
                </c:pt>
                <c:pt idx="3">
                  <c:v>6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72</c:v>
                </c:pt>
                <c:pt idx="3">
                  <c:v>6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380</c:v>
                </c:pt>
                <c:pt idx="2">
                  <c:v>5691</c:v>
                </c:pt>
                <c:pt idx="3">
                  <c:v>654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66</c:v>
                </c:pt>
                <c:pt idx="3">
                  <c:v>5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849.2"/>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34</c:v>
                </c:pt>
                <c:pt idx="3">
                  <c:v>14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6</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c:v>
                </c:pt>
                <c:pt idx="2">
                  <c:v>21</c:v>
                </c:pt>
                <c:pt idx="3">
                  <c:v>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0</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4</c:f>
              <c:numCache>
                <c:formatCode>General</c:formatCode>
                <c:ptCount val="3"/>
                <c:pt idx="0">
                  <c:v>100</c:v>
                </c:pt>
                <c:pt idx="1">
                  <c:v>4</c:v>
                </c:pt>
                <c:pt idx="2">
                  <c:v>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3</c:v>
                </c:pt>
                <c:pt idx="2">
                  <c:v>130</c:v>
                </c:pt>
                <c:pt idx="3">
                  <c:v>11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99</c:v>
                </c:pt>
                <c:pt idx="3">
                  <c:v>10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4</c:v>
                </c:pt>
                <c:pt idx="2">
                  <c:v>16</c:v>
                </c:pt>
                <c:pt idx="3">
                  <c:v>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100</c:v>
                </c:pt>
                <c:pt idx="3">
                  <c:v>10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12</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4</c:f>
              <c:numCache>
                <c:formatCode>General</c:formatCode>
                <c:ptCount val="3"/>
                <c:pt idx="0">
                  <c:v>100</c:v>
                </c:pt>
                <c:pt idx="1">
                  <c:v>60</c:v>
                </c:pt>
                <c:pt idx="2">
                  <c:v>5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109</c:v>
                </c:pt>
                <c:pt idx="3">
                  <c:v>10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2</c:v>
                </c:pt>
                <c:pt idx="3">
                  <c:v>11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42</c:v>
                </c:pt>
                <c:pt idx="3">
                  <c:v>4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20</c:v>
                </c:pt>
                <c:pt idx="3">
                  <c:v>12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16</c:v>
                </c:pt>
                <c:pt idx="3">
                  <c:v>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87</c:v>
                </c:pt>
                <c:pt idx="3">
                  <c:v>9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6</c:v>
                </c:pt>
                <c:pt idx="2">
                  <c:v>140</c:v>
                </c:pt>
                <c:pt idx="3">
                  <c:v>14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32</c:v>
                </c:pt>
                <c:pt idx="2">
                  <c:v>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71</c:v>
                </c:pt>
                <c:pt idx="3">
                  <c:v>5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1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7</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25</c:v>
                </c:pt>
                <c:pt idx="3">
                  <c:v>12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17</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40</c:v>
                </c:pt>
                <c:pt idx="2">
                  <c:v>4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89</c:v>
                </c:pt>
                <c:pt idx="3">
                  <c:v>9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0</c:v>
                </c:pt>
                <c:pt idx="2">
                  <c:v>68</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69</c:v>
                </c:pt>
                <c:pt idx="3">
                  <c:v>7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75</c:v>
                </c:pt>
                <c:pt idx="3">
                  <c:v>5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93</c:v>
                </c:pt>
                <c:pt idx="3">
                  <c:v>8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150</c:v>
                </c:pt>
                <c:pt idx="3">
                  <c:v>15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9.6"/>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01</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30</c:v>
                </c:pt>
                <c:pt idx="3">
                  <c:v>1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06</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17</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10</c:v>
                </c:pt>
                <c:pt idx="3">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5</c:v>
                </c:pt>
                <c:pt idx="2">
                  <c:v>34</c:v>
                </c:pt>
                <c:pt idx="3">
                  <c:v>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7413</c:v>
                </c:pt>
                <c:pt idx="2">
                  <c:v>984579</c:v>
                </c:pt>
                <c:pt idx="3">
                  <c:v>84061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3</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4</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7</c:v>
                </c:pt>
                <c:pt idx="3">
                  <c:v>1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81494.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26</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24</c:v>
                </c:pt>
                <c:pt idx="3">
                  <c:v>11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103</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225503</c:v>
                </c:pt>
                <c:pt idx="2">
                  <c:v>1467610</c:v>
                </c:pt>
                <c:pt idx="3">
                  <c:v>9438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58</c:v>
                </c:pt>
                <c:pt idx="2">
                  <c:v>2</c:v>
                </c:pt>
                <c:pt idx="3">
                  <c:v>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9</c:v>
                </c:pt>
                <c:pt idx="3">
                  <c:v>1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70603.59999999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2</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105</c:v>
                </c:pt>
                <c:pt idx="3">
                  <c:v>10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1</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4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59</c:v>
                </c:pt>
                <c:pt idx="3">
                  <c:v>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21</c:v>
                </c:pt>
                <c:pt idx="3">
                  <c:v>12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3</c:v>
                </c:pt>
                <c:pt idx="2">
                  <c:v>83</c:v>
                </c:pt>
                <c:pt idx="3">
                  <c:v>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75</c:v>
                </c:pt>
                <c:pt idx="3">
                  <c:v>9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9</c:v>
                </c:pt>
                <c:pt idx="2">
                  <c:v>70</c:v>
                </c:pt>
                <c:pt idx="3">
                  <c:v>4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87</c:v>
                </c:pt>
                <c:pt idx="3">
                  <c:v>8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99</c:v>
                </c:pt>
                <c:pt idx="3">
                  <c:v>11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4.4"/>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09</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38</c:v>
                </c:pt>
                <c:pt idx="3">
                  <c:v>17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4</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17</c:v>
                </c:pt>
                <c:pt idx="3">
                  <c:v>12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05</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2.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5,8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8,7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5805</c:v>
                </c:pt>
                <c:pt idx="1">
                  <c:v>42663</c:v>
                </c:pt>
                <c:pt idx="2">
                  <c:v>66809</c:v>
                </c:pt>
                <c:pt idx="3">
                  <c:v>43981</c:v>
                </c:pt>
                <c:pt idx="4">
                  <c:v>57321</c:v>
                </c:pt>
                <c:pt idx="5">
                  <c:v>56400</c:v>
                </c:pt>
                <c:pt idx="6">
                  <c:v>62815</c:v>
                </c:pt>
                <c:pt idx="7">
                  <c:v>81377</c:v>
                </c:pt>
                <c:pt idx="8">
                  <c:v>53197</c:v>
                </c:pt>
                <c:pt idx="9">
                  <c:v>68572</c:v>
                </c:pt>
                <c:pt idx="10">
                  <c:v>52919</c:v>
                </c:pt>
                <c:pt idx="11">
                  <c:v>76888</c:v>
                </c:pt>
                <c:pt idx="12">
                  <c:v>59008</c:v>
                </c:pt>
                <c:pt idx="13">
                  <c:v>58727</c:v>
                </c:pt>
                <c:pt idx="14">
                  <c:v>63391</c:v>
                </c:pt>
                <c:pt idx="15">
                  <c:v>51184</c:v>
                </c:pt>
                <c:pt idx="16">
                  <c:v>72034</c:v>
                </c:pt>
                <c:pt idx="17">
                  <c:v>52447</c:v>
                </c:pt>
                <c:pt idx="18">
                  <c:v>58757</c:v>
                </c:pt>
                <c:pt idx="19">
                  <c:v>39230</c:v>
                </c:pt>
                <c:pt idx="20">
                  <c:v>41843</c:v>
                </c:pt>
                <c:pt idx="21">
                  <c:v>53278</c:v>
                </c:pt>
                <c:pt idx="22">
                  <c:v>46728</c:v>
                </c:pt>
                <c:pt idx="23">
                  <c:v>38532</c:v>
                </c:pt>
                <c:pt idx="24">
                  <c:v>360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08</c:v>
                </c:pt>
                <c:pt idx="1">
                  <c:v>2.31</c:v>
                </c:pt>
                <c:pt idx="2">
                  <c:v>2.82</c:v>
                </c:pt>
                <c:pt idx="3">
                  <c:v>2.29</c:v>
                </c:pt>
                <c:pt idx="4">
                  <c:v>2.57</c:v>
                </c:pt>
                <c:pt idx="5">
                  <c:v>2.67</c:v>
                </c:pt>
                <c:pt idx="6">
                  <c:v>3.06</c:v>
                </c:pt>
                <c:pt idx="7">
                  <c:v>2.82</c:v>
                </c:pt>
                <c:pt idx="8">
                  <c:v>2.67</c:v>
                </c:pt>
                <c:pt idx="9">
                  <c:v>2.56</c:v>
                </c:pt>
                <c:pt idx="10">
                  <c:v>2.59</c:v>
                </c:pt>
                <c:pt idx="11">
                  <c:v>2.02</c:v>
                </c:pt>
                <c:pt idx="12">
                  <c:v>1.54</c:v>
                </c:pt>
                <c:pt idx="13">
                  <c:v>1.77</c:v>
                </c:pt>
                <c:pt idx="14">
                  <c:v>1.66</c:v>
                </c:pt>
                <c:pt idx="15">
                  <c:v>1.97</c:v>
                </c:pt>
                <c:pt idx="16">
                  <c:v>1.97</c:v>
                </c:pt>
                <c:pt idx="17">
                  <c:v>1.5</c:v>
                </c:pt>
                <c:pt idx="18">
                  <c:v>2.03</c:v>
                </c:pt>
                <c:pt idx="19">
                  <c:v>1.5</c:v>
                </c:pt>
                <c:pt idx="20">
                  <c:v>1.61</c:v>
                </c:pt>
                <c:pt idx="21">
                  <c:v>1.74</c:v>
                </c:pt>
                <c:pt idx="22">
                  <c:v>1.75</c:v>
                </c:pt>
                <c:pt idx="23">
                  <c:v>1.69</c:v>
                </c:pt>
                <c:pt idx="24">
                  <c:v>1.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6</c:v>
                </c:pt>
                <c:pt idx="2">
                  <c:v>66</c:v>
                </c:pt>
                <c:pt idx="3">
                  <c:v>10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402</c:v>
                </c:pt>
                <c:pt idx="2">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82.3999999999999"/>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30</c:v>
                </c:pt>
                <c:pt idx="2">
                  <c:v>70</c:v>
                </c:pt>
                <c:pt idx="3">
                  <c:v>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82</c:v>
                </c:pt>
                <c:pt idx="2">
                  <c:v>50</c:v>
                </c:pt>
                <c:pt idx="3">
                  <c:v>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899</c:v>
                </c:pt>
                <c:pt idx="2">
                  <c:v>29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078.8"/>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9</c:v>
                </c:pt>
                <c:pt idx="2">
                  <c:v>28</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3</c:v>
                </c:pt>
                <c:pt idx="2">
                  <c:v>80</c:v>
                </c:pt>
                <c:pt idx="3">
                  <c:v>6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0</c:v>
                </c:pt>
                <c:pt idx="3">
                  <c:v>6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5</c:v>
                </c:pt>
                <c:pt idx="2">
                  <c:v>48</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0</c:v>
                </c:pt>
                <c:pt idx="3">
                  <c:v>8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 All Other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73</c:v>
                </c:pt>
                <c:pt idx="3">
                  <c:v>12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130</c:v>
                </c:pt>
                <c:pt idx="3">
                  <c:v>22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t2/Slim Twi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2</c:v>
                </c:pt>
                <c:pt idx="2">
                  <c:v>65</c:v>
                </c:pt>
                <c:pt idx="3">
                  <c:v>8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65.2"/>
          <c:min val="3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4</c:v>
                </c:pt>
                <c:pt idx="2">
                  <c:v>102</c:v>
                </c:pt>
                <c:pt idx="3">
                  <c:v>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77</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91</c:v>
                </c:pt>
                <c:pt idx="3">
                  <c:v>8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 All Other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9</c:v>
                </c:pt>
                <c:pt idx="2">
                  <c:v>102</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70</c:v>
                </c:pt>
                <c:pt idx="3">
                  <c:v>7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t2/Slim Twi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8</c:v>
                </c:pt>
                <c:pt idx="2">
                  <c:v>143</c:v>
                </c:pt>
                <c:pt idx="3">
                  <c:v>16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6.79999999999998"/>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51</c:v>
                </c:pt>
                <c:pt idx="3">
                  <c:v>17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6</c:v>
                </c:pt>
                <c:pt idx="2">
                  <c:v>72</c:v>
                </c:pt>
                <c:pt idx="3">
                  <c:v>6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72</c:v>
                </c:pt>
                <c:pt idx="2">
                  <c:v>165</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14</c:v>
                </c:pt>
                <c:pt idx="2">
                  <c:v>401</c:v>
                </c:pt>
                <c:pt idx="3">
                  <c:v>70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Xtrem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46</c:v>
                </c:pt>
                <c:pt idx="2">
                  <c:v>249</c:v>
                </c:pt>
                <c:pt idx="3">
                  <c:v>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49.6"/>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9</c:v>
                </c:pt>
                <c:pt idx="2">
                  <c:v>97</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110</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0</c:v>
                </c:pt>
                <c:pt idx="2">
                  <c:v>133</c:v>
                </c:pt>
                <c:pt idx="3">
                  <c:v>13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1</c:v>
                </c:pt>
                <c:pt idx="3">
                  <c:v>12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Xtrem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8</c:v>
                </c:pt>
                <c:pt idx="2">
                  <c:v>69</c:v>
                </c:pt>
                <c:pt idx="3">
                  <c:v>5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8</c:v>
                </c:pt>
                <c:pt idx="2">
                  <c:v>224</c:v>
                </c:pt>
                <c:pt idx="3">
                  <c:v>23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88</c:v>
                </c:pt>
                <c:pt idx="3">
                  <c:v>8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Quattro</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3</c:v>
                </c:pt>
                <c:pt idx="2">
                  <c:v>90</c:v>
                </c:pt>
                <c:pt idx="3">
                  <c:v>8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9</c:v>
                </c:pt>
                <c:pt idx="2">
                  <c:v>5</c:v>
                </c:pt>
                <c:pt idx="3">
                  <c:v>1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0</c:v>
                </c:pt>
                <c:pt idx="2">
                  <c:v>149</c:v>
                </c:pt>
                <c:pt idx="3">
                  <c:v>2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95.2"/>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94</c:v>
                </c:pt>
                <c:pt idx="3">
                  <c:v>9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11</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95</c:v>
                </c:pt>
                <c:pt idx="3">
                  <c:v>9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Quattro</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7</c:v>
                </c:pt>
                <c:pt idx="2">
                  <c:v>104</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88</c:v>
                </c:pt>
                <c:pt idx="3">
                  <c:v>9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82</c:v>
                </c:pt>
                <c:pt idx="3">
                  <c:v>7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6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5</c:v>
                </c:pt>
                <c:pt idx="2">
                  <c:v>160</c:v>
                </c:pt>
                <c:pt idx="3">
                  <c:v>27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8</c:v>
                </c:pt>
                <c:pt idx="2">
                  <c:v>182</c:v>
                </c:pt>
                <c:pt idx="3">
                  <c:v>2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3</c:v>
                </c:pt>
                <c:pt idx="2">
                  <c:v>46</c:v>
                </c:pt>
                <c:pt idx="3">
                  <c:v>4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108</c:v>
                </c:pt>
                <c:pt idx="3">
                  <c:v>7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7</c:v>
                </c:pt>
                <c:pt idx="2">
                  <c:v>35</c:v>
                </c:pt>
                <c:pt idx="3">
                  <c:v>3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25.2"/>
          <c:min val="2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06</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3</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09</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0</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271</c:v>
                </c:pt>
                <c:pt idx="3">
                  <c:v>258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79</c:v>
                </c:pt>
                <c:pt idx="3">
                  <c:v>4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0</c:v>
                </c:pt>
                <c:pt idx="2">
                  <c:v>97</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97.2"/>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4</c:v>
                </c:pt>
                <c:pt idx="3">
                  <c:v>14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34</c:v>
                </c:pt>
                <c:pt idx="3">
                  <c:v>13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7</c:v>
                </c:pt>
                <c:pt idx="2">
                  <c:v>133</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2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2.79999999999998"/>
          <c:min val="78.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11</c:v>
                </c:pt>
                <c:pt idx="3">
                  <c:v>10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6</c:v>
                </c:pt>
                <c:pt idx="2">
                  <c:v>189</c:v>
                </c:pt>
                <c:pt idx="3">
                  <c:v>17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6</c:v>
                </c:pt>
                <c:pt idx="3">
                  <c:v>9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70</c:v>
                </c:pt>
                <c:pt idx="3">
                  <c:v>5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4</c:v>
                </c:pt>
                <c:pt idx="3">
                  <c:v>9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6.79999999999998"/>
          <c:min val="4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2</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11</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84</c:v>
                </c:pt>
                <c:pt idx="3">
                  <c:v>7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100</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07</c:v>
                </c:pt>
                <c:pt idx="3">
                  <c:v>10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17</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89</c:v>
                </c:pt>
                <c:pt idx="3">
                  <c:v>7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08</c:v>
                </c:pt>
                <c:pt idx="3">
                  <c:v>12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0</c:v>
                </c:pt>
                <c:pt idx="3">
                  <c:v>7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27</c:v>
                </c:pt>
                <c:pt idx="3">
                  <c:v>11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145</c:v>
                </c:pt>
                <c:pt idx="3">
                  <c:v>14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4.0"/>
          <c:min val="5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24</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20</c:v>
                </c:pt>
                <c:pt idx="3">
                  <c:v>1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9</c:v>
                </c:pt>
                <c:pt idx="3">
                  <c:v>10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8</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4</c:v>
                </c:pt>
                <c:pt idx="2">
                  <c:v>122</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0</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93</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93</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0</c:v>
                </c:pt>
                <c:pt idx="2">
                  <c:v>118</c:v>
                </c:pt>
                <c:pt idx="3">
                  <c:v>10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74</c:v>
                </c:pt>
                <c:pt idx="2">
                  <c:v>2440</c:v>
                </c:pt>
                <c:pt idx="3">
                  <c:v>31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5</c:v>
                </c:pt>
                <c:pt idx="3">
                  <c:v>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54</c:v>
                </c:pt>
                <c:pt idx="3">
                  <c:v>5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73</c:v>
                </c:pt>
                <c:pt idx="3">
                  <c:v>6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16.0"/>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4</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111</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0</c:v>
                </c:pt>
                <c:pt idx="2">
                  <c:v>36</c:v>
                </c:pt>
                <c:pt idx="3">
                  <c:v>3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0</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2</c:v>
                </c:pt>
                <c:pt idx="3">
                  <c:v>9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101</c:v>
                </c:pt>
                <c:pt idx="3">
                  <c:v>9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2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3</c:v>
                </c:pt>
                <c:pt idx="2">
                  <c:v>193</c:v>
                </c:pt>
                <c:pt idx="3">
                  <c:v>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0</c:v>
                </c:pt>
                <c:pt idx="2">
                  <c:v>31</c:v>
                </c:pt>
                <c:pt idx="3">
                  <c:v>1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64</c:v>
                </c:pt>
                <c:pt idx="2">
                  <c:v>429</c:v>
                </c:pt>
                <c:pt idx="3">
                  <c:v>54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79</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62</c:v>
                </c:pt>
                <c:pt idx="3">
                  <c:v>4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54.0"/>
          <c:min val="1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8</c:v>
                </c:pt>
                <c:pt idx="2">
                  <c:v>94</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48</c:v>
                </c:pt>
                <c:pt idx="3">
                  <c:v>13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107</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3</c:v>
                </c:pt>
                <c:pt idx="3">
                  <c:v>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4</c:v>
                </c:pt>
                <c:pt idx="2">
                  <c:v>126</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7.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6,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3,5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9,5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6167</c:v>
                </c:pt>
                <c:pt idx="1">
                  <c:v>294472</c:v>
                </c:pt>
                <c:pt idx="2">
                  <c:v>261992</c:v>
                </c:pt>
                <c:pt idx="3">
                  <c:v>280764</c:v>
                </c:pt>
                <c:pt idx="4">
                  <c:v>263051</c:v>
                </c:pt>
                <c:pt idx="5">
                  <c:v>263271</c:v>
                </c:pt>
                <c:pt idx="6">
                  <c:v>268241</c:v>
                </c:pt>
                <c:pt idx="7">
                  <c:v>294752</c:v>
                </c:pt>
                <c:pt idx="8">
                  <c:v>306637</c:v>
                </c:pt>
                <c:pt idx="9">
                  <c:v>351708</c:v>
                </c:pt>
                <c:pt idx="10">
                  <c:v>443581</c:v>
                </c:pt>
                <c:pt idx="11">
                  <c:v>355954</c:v>
                </c:pt>
                <c:pt idx="12">
                  <c:v>314209</c:v>
                </c:pt>
                <c:pt idx="13">
                  <c:v>303574</c:v>
                </c:pt>
                <c:pt idx="14">
                  <c:v>270449</c:v>
                </c:pt>
                <c:pt idx="15">
                  <c:v>245262</c:v>
                </c:pt>
                <c:pt idx="16">
                  <c:v>259979</c:v>
                </c:pt>
                <c:pt idx="17">
                  <c:v>231896</c:v>
                </c:pt>
                <c:pt idx="18">
                  <c:v>291292</c:v>
                </c:pt>
                <c:pt idx="19">
                  <c:v>362836</c:v>
                </c:pt>
                <c:pt idx="20">
                  <c:v>395856</c:v>
                </c:pt>
                <c:pt idx="21">
                  <c:v>423313</c:v>
                </c:pt>
                <c:pt idx="22">
                  <c:v>468562</c:v>
                </c:pt>
                <c:pt idx="23">
                  <c:v>476029</c:v>
                </c:pt>
                <c:pt idx="24">
                  <c:v>3995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6</c:v>
                </c:pt>
                <c:pt idx="1">
                  <c:v>1.51</c:v>
                </c:pt>
                <c:pt idx="2">
                  <c:v>1.37</c:v>
                </c:pt>
                <c:pt idx="3">
                  <c:v>1.04</c:v>
                </c:pt>
                <c:pt idx="4">
                  <c:v>1.34</c:v>
                </c:pt>
                <c:pt idx="5">
                  <c:v>1.23</c:v>
                </c:pt>
                <c:pt idx="6">
                  <c:v>1.2</c:v>
                </c:pt>
                <c:pt idx="7">
                  <c:v>1.72</c:v>
                </c:pt>
                <c:pt idx="8">
                  <c:v>1.77</c:v>
                </c:pt>
                <c:pt idx="9">
                  <c:v>1.83</c:v>
                </c:pt>
                <c:pt idx="10">
                  <c:v>2.02</c:v>
                </c:pt>
                <c:pt idx="11">
                  <c:v>1.93</c:v>
                </c:pt>
                <c:pt idx="12">
                  <c:v>2.02</c:v>
                </c:pt>
                <c:pt idx="13">
                  <c:v>2.09</c:v>
                </c:pt>
                <c:pt idx="14">
                  <c:v>1.66</c:v>
                </c:pt>
                <c:pt idx="15">
                  <c:v>2.07</c:v>
                </c:pt>
                <c:pt idx="16">
                  <c:v>1.9</c:v>
                </c:pt>
                <c:pt idx="17">
                  <c:v>2.22</c:v>
                </c:pt>
                <c:pt idx="18">
                  <c:v>2.49</c:v>
                </c:pt>
                <c:pt idx="19">
                  <c:v>2.54</c:v>
                </c:pt>
                <c:pt idx="20">
                  <c:v>2.56</c:v>
                </c:pt>
                <c:pt idx="21">
                  <c:v>2.47</c:v>
                </c:pt>
                <c:pt idx="22">
                  <c:v>2.59</c:v>
                </c:pt>
                <c:pt idx="23">
                  <c:v>2.7</c:v>
                </c:pt>
                <c:pt idx="24">
                  <c:v>2.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0</c:v>
                </c:pt>
                <c:pt idx="3">
                  <c:v>9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89</c:v>
                </c:pt>
                <c:pt idx="3">
                  <c:v>9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8</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43</c:v>
                </c:pt>
                <c:pt idx="2">
                  <c:v>197</c:v>
                </c:pt>
                <c:pt idx="3">
                  <c:v>19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76</c:v>
                </c:pt>
                <c:pt idx="3">
                  <c:v>5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6.39999999999998"/>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6</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00</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2</c:v>
                </c:pt>
                <c:pt idx="3">
                  <c:v>10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05</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9</c:v>
                </c:pt>
                <c:pt idx="3">
                  <c:v>9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06</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5</c:v>
                </c:pt>
                <c:pt idx="2">
                  <c:v>44</c:v>
                </c:pt>
                <c:pt idx="3">
                  <c:v>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47</c:v>
                </c:pt>
                <c:pt idx="3">
                  <c:v>12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07</c:v>
                </c:pt>
                <c:pt idx="3">
                  <c:v>9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122</c:v>
                </c:pt>
                <c:pt idx="3">
                  <c:v>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2</c:v>
                </c:pt>
                <c:pt idx="2">
                  <c:v>5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18.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27</c:v>
                </c:pt>
                <c:pt idx="3">
                  <c:v>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5</c:v>
                </c:pt>
                <c:pt idx="3">
                  <c:v>11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7</c:v>
                </c:pt>
                <c:pt idx="2">
                  <c:v>2</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1</c:v>
                </c:pt>
                <c:pt idx="3">
                  <c:v>12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102</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1</c:v>
                </c:pt>
                <c:pt idx="2">
                  <c:v>128</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2</c:v>
                </c:pt>
                <c:pt idx="2">
                  <c:v>62</c:v>
                </c:pt>
                <c:pt idx="3">
                  <c:v>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2</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6</c:v>
                </c:pt>
                <c:pt idx="3">
                  <c:v>25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04</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9</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0</c:v>
                </c:pt>
                <c:pt idx="2">
                  <c:v>115</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09.59999999999997"/>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42,7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15,1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67,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42734</c:v>
                </c:pt>
                <c:pt idx="1">
                  <c:v>1872387</c:v>
                </c:pt>
                <c:pt idx="2">
                  <c:v>1724223</c:v>
                </c:pt>
                <c:pt idx="3">
                  <c:v>1737857</c:v>
                </c:pt>
                <c:pt idx="4">
                  <c:v>2065864</c:v>
                </c:pt>
                <c:pt idx="5">
                  <c:v>1684288</c:v>
                </c:pt>
                <c:pt idx="6">
                  <c:v>1919957</c:v>
                </c:pt>
                <c:pt idx="7">
                  <c:v>2339045</c:v>
                </c:pt>
                <c:pt idx="8">
                  <c:v>2181072</c:v>
                </c:pt>
                <c:pt idx="9">
                  <c:v>3254542</c:v>
                </c:pt>
                <c:pt idx="10">
                  <c:v>2726861</c:v>
                </c:pt>
                <c:pt idx="11">
                  <c:v>2524118</c:v>
                </c:pt>
                <c:pt idx="12">
                  <c:v>2338300</c:v>
                </c:pt>
                <c:pt idx="13">
                  <c:v>2015139</c:v>
                </c:pt>
                <c:pt idx="14">
                  <c:v>1773054</c:v>
                </c:pt>
                <c:pt idx="15">
                  <c:v>1889367</c:v>
                </c:pt>
                <c:pt idx="16">
                  <c:v>2055030</c:v>
                </c:pt>
                <c:pt idx="17">
                  <c:v>1710231</c:v>
                </c:pt>
                <c:pt idx="18">
                  <c:v>1837168</c:v>
                </c:pt>
                <c:pt idx="19">
                  <c:v>2040129</c:v>
                </c:pt>
                <c:pt idx="20">
                  <c:v>2602895</c:v>
                </c:pt>
                <c:pt idx="21">
                  <c:v>2659275</c:v>
                </c:pt>
                <c:pt idx="22">
                  <c:v>2571666</c:v>
                </c:pt>
                <c:pt idx="23">
                  <c:v>2808470</c:v>
                </c:pt>
                <c:pt idx="24">
                  <c:v>366716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6</c:v>
                </c:pt>
                <c:pt idx="1">
                  <c:v>3.66</c:v>
                </c:pt>
                <c:pt idx="2">
                  <c:v>3.57</c:v>
                </c:pt>
                <c:pt idx="3">
                  <c:v>3.63</c:v>
                </c:pt>
                <c:pt idx="4">
                  <c:v>3.93</c:v>
                </c:pt>
                <c:pt idx="5">
                  <c:v>3.74</c:v>
                </c:pt>
                <c:pt idx="6">
                  <c:v>3.52</c:v>
                </c:pt>
                <c:pt idx="7">
                  <c:v>3.9</c:v>
                </c:pt>
                <c:pt idx="8">
                  <c:v>3.65</c:v>
                </c:pt>
                <c:pt idx="9">
                  <c:v>3.58</c:v>
                </c:pt>
                <c:pt idx="10">
                  <c:v>3.78</c:v>
                </c:pt>
                <c:pt idx="11">
                  <c:v>3.82</c:v>
                </c:pt>
                <c:pt idx="12">
                  <c:v>3.85</c:v>
                </c:pt>
                <c:pt idx="13">
                  <c:v>4.1</c:v>
                </c:pt>
                <c:pt idx="14">
                  <c:v>3.82</c:v>
                </c:pt>
                <c:pt idx="15">
                  <c:v>3.45</c:v>
                </c:pt>
                <c:pt idx="16">
                  <c:v>3.87</c:v>
                </c:pt>
                <c:pt idx="17">
                  <c:v>3.46</c:v>
                </c:pt>
                <c:pt idx="18">
                  <c:v>3.29</c:v>
                </c:pt>
                <c:pt idx="19">
                  <c:v>3.49</c:v>
                </c:pt>
                <c:pt idx="20">
                  <c:v>2.97</c:v>
                </c:pt>
                <c:pt idx="21">
                  <c:v>2.98</c:v>
                </c:pt>
                <c:pt idx="22">
                  <c:v>3.47</c:v>
                </c:pt>
                <c:pt idx="23">
                  <c:v>3.53</c:v>
                </c:pt>
                <c:pt idx="24">
                  <c:v>2.7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6</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6</c:v>
                </c:pt>
                <c:pt idx="3">
                  <c:v>11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8</c:v>
                </c:pt>
                <c:pt idx="2">
                  <c:v>30</c:v>
                </c:pt>
                <c:pt idx="3">
                  <c:v>3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7</c:v>
                </c:pt>
                <c:pt idx="2">
                  <c:v>172</c:v>
                </c:pt>
                <c:pt idx="3">
                  <c:v>16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52</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4</c:v>
                </c:pt>
                <c:pt idx="2">
                  <c:v>72</c:v>
                </c:pt>
                <c:pt idx="3">
                  <c:v>1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9</c:v>
                </c:pt>
                <c:pt idx="2">
                  <c:v>135</c:v>
                </c:pt>
                <c:pt idx="3">
                  <c:v>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6.4"/>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32</c:v>
                </c:pt>
                <c:pt idx="3">
                  <c:v>1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8</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8.4"/>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1</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18</c:v>
                </c:pt>
                <c:pt idx="3">
                  <c:v>14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7</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101</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207</c:v>
                </c:pt>
                <c:pt idx="3">
                  <c:v>15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8.39999999999998"/>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8</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6</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21</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13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8</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18</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3,0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47,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97,8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03060</c:v>
                </c:pt>
                <c:pt idx="1">
                  <c:v>1159449</c:v>
                </c:pt>
                <c:pt idx="2">
                  <c:v>1431958</c:v>
                </c:pt>
                <c:pt idx="3">
                  <c:v>1036110</c:v>
                </c:pt>
                <c:pt idx="4">
                  <c:v>1124658</c:v>
                </c:pt>
                <c:pt idx="5">
                  <c:v>967190</c:v>
                </c:pt>
                <c:pt idx="6">
                  <c:v>1260329</c:v>
                </c:pt>
                <c:pt idx="7">
                  <c:v>1946139</c:v>
                </c:pt>
                <c:pt idx="8">
                  <c:v>1539928</c:v>
                </c:pt>
                <c:pt idx="9">
                  <c:v>1459709</c:v>
                </c:pt>
                <c:pt idx="10">
                  <c:v>2002431</c:v>
                </c:pt>
                <c:pt idx="11">
                  <c:v>1734186</c:v>
                </c:pt>
                <c:pt idx="12">
                  <c:v>1450057</c:v>
                </c:pt>
                <c:pt idx="13">
                  <c:v>1147505</c:v>
                </c:pt>
                <c:pt idx="14">
                  <c:v>1434440</c:v>
                </c:pt>
                <c:pt idx="15">
                  <c:v>1005808</c:v>
                </c:pt>
                <c:pt idx="16">
                  <c:v>1194246</c:v>
                </c:pt>
                <c:pt idx="17">
                  <c:v>822411</c:v>
                </c:pt>
                <c:pt idx="18">
                  <c:v>785893</c:v>
                </c:pt>
                <c:pt idx="19">
                  <c:v>963298</c:v>
                </c:pt>
                <c:pt idx="20">
                  <c:v>1010875</c:v>
                </c:pt>
                <c:pt idx="21">
                  <c:v>1082127</c:v>
                </c:pt>
                <c:pt idx="22">
                  <c:v>1425326</c:v>
                </c:pt>
                <c:pt idx="23">
                  <c:v>1570582</c:v>
                </c:pt>
                <c:pt idx="24">
                  <c:v>139783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5</c:v>
                </c:pt>
                <c:pt idx="1">
                  <c:v>3.5</c:v>
                </c:pt>
                <c:pt idx="2">
                  <c:v>3.06</c:v>
                </c:pt>
                <c:pt idx="3">
                  <c:v>3.27</c:v>
                </c:pt>
                <c:pt idx="4">
                  <c:v>3.49</c:v>
                </c:pt>
                <c:pt idx="5">
                  <c:v>3.66</c:v>
                </c:pt>
                <c:pt idx="6">
                  <c:v>2.92</c:v>
                </c:pt>
                <c:pt idx="7">
                  <c:v>3.12</c:v>
                </c:pt>
                <c:pt idx="8">
                  <c:v>3.18</c:v>
                </c:pt>
                <c:pt idx="9">
                  <c:v>3.38</c:v>
                </c:pt>
                <c:pt idx="10">
                  <c:v>3.03</c:v>
                </c:pt>
                <c:pt idx="11">
                  <c:v>3.25</c:v>
                </c:pt>
                <c:pt idx="12">
                  <c:v>3.48</c:v>
                </c:pt>
                <c:pt idx="13">
                  <c:v>3.65</c:v>
                </c:pt>
                <c:pt idx="14">
                  <c:v>3.07</c:v>
                </c:pt>
                <c:pt idx="15">
                  <c:v>3.33</c:v>
                </c:pt>
                <c:pt idx="16">
                  <c:v>3.38</c:v>
                </c:pt>
                <c:pt idx="17">
                  <c:v>3.91</c:v>
                </c:pt>
                <c:pt idx="18">
                  <c:v>3.82</c:v>
                </c:pt>
                <c:pt idx="19">
                  <c:v>3.75</c:v>
                </c:pt>
                <c:pt idx="20">
                  <c:v>3.49</c:v>
                </c:pt>
                <c:pt idx="21">
                  <c:v>3.55</c:v>
                </c:pt>
                <c:pt idx="22">
                  <c:v>3.04</c:v>
                </c:pt>
                <c:pt idx="23">
                  <c:v>3.0</c:v>
                </c:pt>
                <c:pt idx="24">
                  <c:v>2.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93</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13</c:v>
                </c:pt>
                <c:pt idx="3">
                  <c:v>9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4</c:v>
                </c:pt>
                <c:pt idx="3">
                  <c:v>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52</c:v>
                </c:pt>
                <c:pt idx="3">
                  <c:v>6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5</c:v>
                </c:pt>
                <c:pt idx="2">
                  <c:v>119</c:v>
                </c:pt>
                <c:pt idx="3">
                  <c:v>9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03</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09</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109</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0</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1</c:v>
                </c:pt>
                <c:pt idx="2">
                  <c:v>108</c:v>
                </c:pt>
                <c:pt idx="3">
                  <c:v>9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0</c:v>
                </c:pt>
                <c:pt idx="2">
                  <c:v>90</c:v>
                </c:pt>
                <c:pt idx="3">
                  <c:v>8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lmay And Skintima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4</c:v>
                </c:pt>
                <c:pt idx="2">
                  <c:v>489</c:v>
                </c:pt>
                <c:pt idx="3">
                  <c:v>7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Amaz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61</c:v>
                </c:pt>
                <c:pt idx="3">
                  <c:v>1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61</c:v>
                </c:pt>
                <c:pt idx="2">
                  <c:v>431</c:v>
                </c:pt>
                <c:pt idx="3">
                  <c:v>55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4</c:v>
                </c:pt>
                <c:pt idx="2">
                  <c:v>47</c:v>
                </c:pt>
                <c:pt idx="3">
                  <c:v>3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4</c:v>
                </c:pt>
                <c:pt idx="2">
                  <c:v>53</c:v>
                </c:pt>
                <c:pt idx="3">
                  <c:v>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70.8"/>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6</c:v>
                </c:pt>
                <c:pt idx="2">
                  <c:v>96</c:v>
                </c:pt>
                <c:pt idx="3">
                  <c:v>9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lmay And Skintima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15</c:v>
                </c:pt>
                <c:pt idx="3">
                  <c:v>11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Amaz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03</c:v>
                </c:pt>
                <c:pt idx="3">
                  <c:v>10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7</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2</c:v>
                </c:pt>
                <c:pt idx="2">
                  <c:v>128</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113</c:v>
                </c:pt>
                <c:pt idx="3">
                  <c:v>11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4</c:v>
                </c:pt>
                <c:pt idx="3">
                  <c:v>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6</c:v>
                </c:pt>
                <c:pt idx="3">
                  <c:v>10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250</c:v>
                </c:pt>
                <c:pt idx="2">
                  <c:v>264</c:v>
                </c:pt>
                <c:pt idx="3">
                  <c:v>26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73</c:v>
                </c:pt>
                <c:pt idx="3">
                  <c:v>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16.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04</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9</c:v>
                </c:pt>
                <c:pt idx="3">
                  <c:v>12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97</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94</c:v>
                </c:pt>
                <c:pt idx="3">
                  <c:v>9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98</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48</c:v>
                </c:pt>
                <c:pt idx="3">
                  <c:v>1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5</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9</c:v>
                </c:pt>
                <c:pt idx="2">
                  <c:v>163</c:v>
                </c:pt>
                <c:pt idx="3">
                  <c:v>12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87</c:v>
                </c:pt>
                <c:pt idx="3">
                  <c:v>8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57</c:v>
                </c:pt>
                <c:pt idx="3">
                  <c:v>3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2.79999999999998"/>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7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9</c:v>
                </c:pt>
                <c:pt idx="3">
                  <c:v>9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90</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101</c:v>
                </c:pt>
                <c:pt idx="3">
                  <c:v>10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7</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09,8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84,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22,1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09899</c:v>
                </c:pt>
                <c:pt idx="1">
                  <c:v>2388413</c:v>
                </c:pt>
                <c:pt idx="2">
                  <c:v>2211630</c:v>
                </c:pt>
                <c:pt idx="3">
                  <c:v>1889975</c:v>
                </c:pt>
                <c:pt idx="4">
                  <c:v>2299269</c:v>
                </c:pt>
                <c:pt idx="5">
                  <c:v>2138368</c:v>
                </c:pt>
                <c:pt idx="6">
                  <c:v>1986631</c:v>
                </c:pt>
                <c:pt idx="7">
                  <c:v>2785642</c:v>
                </c:pt>
                <c:pt idx="8">
                  <c:v>2617272</c:v>
                </c:pt>
                <c:pt idx="9">
                  <c:v>2881521</c:v>
                </c:pt>
                <c:pt idx="10">
                  <c:v>2996035</c:v>
                </c:pt>
                <c:pt idx="11">
                  <c:v>3135287</c:v>
                </c:pt>
                <c:pt idx="12">
                  <c:v>2836911</c:v>
                </c:pt>
                <c:pt idx="13">
                  <c:v>2484066</c:v>
                </c:pt>
                <c:pt idx="14">
                  <c:v>2245936</c:v>
                </c:pt>
                <c:pt idx="15">
                  <c:v>2005200</c:v>
                </c:pt>
                <c:pt idx="16">
                  <c:v>2399222</c:v>
                </c:pt>
                <c:pt idx="17">
                  <c:v>2058394</c:v>
                </c:pt>
                <c:pt idx="18">
                  <c:v>2044865</c:v>
                </c:pt>
                <c:pt idx="19">
                  <c:v>2381547</c:v>
                </c:pt>
                <c:pt idx="20">
                  <c:v>2359298</c:v>
                </c:pt>
                <c:pt idx="21">
                  <c:v>2678703</c:v>
                </c:pt>
                <c:pt idx="22">
                  <c:v>2965992</c:v>
                </c:pt>
                <c:pt idx="23">
                  <c:v>3000711</c:v>
                </c:pt>
                <c:pt idx="24">
                  <c:v>29221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52</c:v>
                </c:pt>
                <c:pt idx="1">
                  <c:v>5.46</c:v>
                </c:pt>
                <c:pt idx="2">
                  <c:v>5.39</c:v>
                </c:pt>
                <c:pt idx="3">
                  <c:v>5.48</c:v>
                </c:pt>
                <c:pt idx="4">
                  <c:v>5.46</c:v>
                </c:pt>
                <c:pt idx="5">
                  <c:v>5.24</c:v>
                </c:pt>
                <c:pt idx="6">
                  <c:v>5.27</c:v>
                </c:pt>
                <c:pt idx="7">
                  <c:v>5.41</c:v>
                </c:pt>
                <c:pt idx="8">
                  <c:v>5.45</c:v>
                </c:pt>
                <c:pt idx="9">
                  <c:v>5.51</c:v>
                </c:pt>
                <c:pt idx="10">
                  <c:v>5.37</c:v>
                </c:pt>
                <c:pt idx="11">
                  <c:v>5.49</c:v>
                </c:pt>
                <c:pt idx="12">
                  <c:v>5.41</c:v>
                </c:pt>
                <c:pt idx="13">
                  <c:v>5.5</c:v>
                </c:pt>
                <c:pt idx="14">
                  <c:v>5.39</c:v>
                </c:pt>
                <c:pt idx="15">
                  <c:v>5.36</c:v>
                </c:pt>
                <c:pt idx="16">
                  <c:v>5.19</c:v>
                </c:pt>
                <c:pt idx="17">
                  <c:v>5.32</c:v>
                </c:pt>
                <c:pt idx="18">
                  <c:v>5.15</c:v>
                </c:pt>
                <c:pt idx="19">
                  <c:v>5.12</c:v>
                </c:pt>
                <c:pt idx="20">
                  <c:v>5.13</c:v>
                </c:pt>
                <c:pt idx="21">
                  <c:v>5.1</c:v>
                </c:pt>
                <c:pt idx="22">
                  <c:v>5.17</c:v>
                </c:pt>
                <c:pt idx="23">
                  <c:v>5.14</c:v>
                </c:pt>
                <c:pt idx="24">
                  <c:v>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5</c:v>
                </c:pt>
                <c:pt idx="2">
                  <c:v>44</c:v>
                </c:pt>
                <c:pt idx="3">
                  <c:v>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47</c:v>
                </c:pt>
                <c:pt idx="3">
                  <c:v>12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07</c:v>
                </c:pt>
                <c:pt idx="3">
                  <c:v>9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122</c:v>
                </c:pt>
                <c:pt idx="3">
                  <c:v>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2</c:v>
                </c:pt>
                <c:pt idx="2">
                  <c:v>5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18.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27</c:v>
                </c:pt>
                <c:pt idx="3">
                  <c:v>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5</c:v>
                </c:pt>
                <c:pt idx="3">
                  <c:v>11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7</c:v>
                </c:pt>
                <c:pt idx="2">
                  <c:v>2</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1</c:v>
                </c:pt>
                <c:pt idx="3">
                  <c:v>12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102</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1</c:v>
                </c:pt>
                <c:pt idx="2">
                  <c:v>128</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2</c:v>
                </c:pt>
                <c:pt idx="2">
                  <c:v>62</c:v>
                </c:pt>
                <c:pt idx="3">
                  <c:v>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2</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6</c:v>
                </c:pt>
                <c:pt idx="3">
                  <c:v>25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04</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9</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0</c:v>
                </c:pt>
                <c:pt idx="2">
                  <c:v>115</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09.59999999999997"/>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2</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5</c:v>
                </c:pt>
                <c:pt idx="3">
                  <c:v>10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9</c:v>
                </c:pt>
                <c:pt idx="2">
                  <c:v>132</c:v>
                </c:pt>
                <c:pt idx="3">
                  <c:v>10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8</c:v>
                </c:pt>
                <c:pt idx="3">
                  <c:v>10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73</c:v>
                </c:pt>
                <c:pt idx="3">
                  <c:v>6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101</c:v>
                </c:pt>
                <c:pt idx="3">
                  <c:v>1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5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09</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18</c:v>
                </c:pt>
                <c:pt idx="3">
                  <c:v>12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85</c:v>
                </c:pt>
                <c:pt idx="3">
                  <c:v>8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6</c:v>
                </c:pt>
                <c:pt idx="3">
                  <c:v>11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22</c:v>
                </c:pt>
                <c:pt idx="3">
                  <c:v>13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2</c:v>
                </c:pt>
                <c:pt idx="2">
                  <c:v>32</c:v>
                </c:pt>
                <c:pt idx="3">
                  <c:v>4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4</c:v>
                </c:pt>
                <c:pt idx="2">
                  <c:v>179</c:v>
                </c:pt>
                <c:pt idx="3">
                  <c:v>1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55</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49</c:v>
                </c:pt>
                <c:pt idx="3">
                  <c:v>5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31</c:v>
                </c:pt>
                <c:pt idx="2">
                  <c:v>235</c:v>
                </c:pt>
                <c:pt idx="3">
                  <c:v>2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82.0"/>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9</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9</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2"/>
              <c:tx>
                <c:rich>
                  <a:bodyPr/>
                  <a:lstStyle/>
                  <a:p>
                    <a:r>
                      <a:t>Value Sales </a:t>
                    </a:r>
                  </a:p>
                  <a:p>
                    <a:r>
                      <a:t> 5</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B$2:$B$4</c:f>
              <c:numCache>
                <c:formatCode>General</c:formatCode>
                <c:ptCount val="3"/>
                <c:pt idx="0">
                  <c:v>12</c:v>
                </c:pt>
                <c:pt idx="1">
                  <c:v>5</c:v>
                </c:pt>
                <c:pt idx="2">
                  <c:v>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2"/>
              <c:tx>
                <c:rich>
                  <a:bodyPr/>
                  <a:lstStyle/>
                  <a:p>
                    <a:r>
                      <a:t>Av Price/KG </a:t>
                    </a:r>
                  </a:p>
                  <a:p>
                    <a:r>
                      <a:t> $ 2.5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C$2:$C$4</c:f>
              <c:numCache>
                <c:formatCode>General</c:formatCode>
                <c:ptCount val="3"/>
                <c:pt idx="0">
                  <c:v>6.0</c:v>
                </c:pt>
                <c:pt idx="1">
                  <c:v>1.67</c:v>
                </c:pt>
                <c:pt idx="2">
                  <c:v>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4</c:v>
                </c:pt>
                <c:pt idx="3">
                  <c:v>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6</c:v>
                </c:pt>
                <c:pt idx="2">
                  <c:v>120</c:v>
                </c:pt>
                <c:pt idx="3">
                  <c:v>14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7</c:v>
                </c:pt>
                <c:pt idx="2">
                  <c:v>84</c:v>
                </c:pt>
                <c:pt idx="3">
                  <c:v>5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100</c:v>
                </c:pt>
                <c:pt idx="3">
                  <c:v>10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208</c:v>
                </c:pt>
                <c:pt idx="3">
                  <c:v>16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8</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2</c:v>
                </c:pt>
                <c:pt idx="3">
                  <c:v>11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23</c:v>
                </c:pt>
                <c:pt idx="3">
                  <c:v>12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13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0.7999999999999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08</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8</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3</c:v>
                </c:pt>
                <c:pt idx="2">
                  <c:v>47</c:v>
                </c:pt>
                <c:pt idx="3">
                  <c:v>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5</c:v>
                </c:pt>
                <c:pt idx="2">
                  <c:v>154</c:v>
                </c:pt>
                <c:pt idx="3">
                  <c:v>16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6</c:v>
                </c:pt>
                <c:pt idx="2">
                  <c:v>55</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21</c:v>
                </c:pt>
                <c:pt idx="3">
                  <c:v>16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964</c:v>
                </c:pt>
                <c:pt idx="2">
                  <c:v>1915</c:v>
                </c:pt>
                <c:pt idx="3">
                  <c:v>23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69.6"/>
          <c:min val="3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3</c:v>
                </c:pt>
                <c:pt idx="3">
                  <c:v>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2</c:v>
                </c:pt>
                <c:pt idx="2">
                  <c:v>24</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6</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7</c:v>
                </c:pt>
                <c:pt idx="2">
                  <c:v>133</c:v>
                </c:pt>
                <c:pt idx="3">
                  <c:v>10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93</c:v>
                </c:pt>
                <c:pt idx="3">
                  <c:v>9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76</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91</c:v>
                </c:pt>
                <c:pt idx="3">
                  <c:v>9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6"/>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9</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20</c:v>
                </c:pt>
                <c:pt idx="3">
                  <c:v>12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89</c:v>
                </c:pt>
                <c:pt idx="3">
                  <c:v>9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5</c:v>
                </c:pt>
                <c:pt idx="3">
                  <c:v>11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17</c:v>
                </c:pt>
                <c:pt idx="3">
                  <c:v>12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9</c:v>
                </c:pt>
                <c:pt idx="2">
                  <c:v>28</c:v>
                </c:pt>
                <c:pt idx="3">
                  <c:v>3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8</c:v>
                </c:pt>
                <c:pt idx="2">
                  <c:v>172</c:v>
                </c:pt>
                <c:pt idx="3">
                  <c:v>16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51</c:v>
                </c:pt>
                <c:pt idx="3">
                  <c:v>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68</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5</c:v>
                </c:pt>
                <c:pt idx="2">
                  <c:v>120</c:v>
                </c:pt>
                <c:pt idx="3">
                  <c:v>13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6.4"/>
          <c:min val="22.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33</c:v>
                </c:pt>
                <c:pt idx="3">
                  <c:v>1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8</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0</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19</c:v>
                </c:pt>
                <c:pt idx="3">
                  <c:v>1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7</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102</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207</c:v>
                </c:pt>
                <c:pt idx="3">
                  <c:v>1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8.39999999999998"/>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19</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6</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20</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4</c:v>
                </c:pt>
                <c:pt idx="2">
                  <c:v>133</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87</c:v>
                </c:pt>
                <c:pt idx="3">
                  <c:v>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87</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13,2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03,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73,6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13279</c:v>
                </c:pt>
                <c:pt idx="1">
                  <c:v>2075349</c:v>
                </c:pt>
                <c:pt idx="2">
                  <c:v>2033052</c:v>
                </c:pt>
                <c:pt idx="3">
                  <c:v>2007560</c:v>
                </c:pt>
                <c:pt idx="4">
                  <c:v>2528118</c:v>
                </c:pt>
                <c:pt idx="5">
                  <c:v>2059641</c:v>
                </c:pt>
                <c:pt idx="6">
                  <c:v>1975376</c:v>
                </c:pt>
                <c:pt idx="7">
                  <c:v>2447187</c:v>
                </c:pt>
                <c:pt idx="8">
                  <c:v>2277680</c:v>
                </c:pt>
                <c:pt idx="9">
                  <c:v>2242012</c:v>
                </c:pt>
                <c:pt idx="10">
                  <c:v>2213254</c:v>
                </c:pt>
                <c:pt idx="11">
                  <c:v>2375750</c:v>
                </c:pt>
                <c:pt idx="12">
                  <c:v>2531349</c:v>
                </c:pt>
                <c:pt idx="13">
                  <c:v>2303167</c:v>
                </c:pt>
                <c:pt idx="14">
                  <c:v>2390246</c:v>
                </c:pt>
                <c:pt idx="15">
                  <c:v>2227851</c:v>
                </c:pt>
                <c:pt idx="16">
                  <c:v>2529335</c:v>
                </c:pt>
                <c:pt idx="17">
                  <c:v>2246718</c:v>
                </c:pt>
                <c:pt idx="18">
                  <c:v>2221207</c:v>
                </c:pt>
                <c:pt idx="19">
                  <c:v>2373127</c:v>
                </c:pt>
                <c:pt idx="20">
                  <c:v>2267700</c:v>
                </c:pt>
                <c:pt idx="21">
                  <c:v>2413107</c:v>
                </c:pt>
                <c:pt idx="22">
                  <c:v>2422648</c:v>
                </c:pt>
                <c:pt idx="23">
                  <c:v>2512785</c:v>
                </c:pt>
                <c:pt idx="24">
                  <c:v>247361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5</c:v>
                </c:pt>
                <c:pt idx="2">
                  <c:v>1.55</c:v>
                </c:pt>
                <c:pt idx="3">
                  <c:v>1.55</c:v>
                </c:pt>
                <c:pt idx="4">
                  <c:v>1.57</c:v>
                </c:pt>
                <c:pt idx="5">
                  <c:v>1.54</c:v>
                </c:pt>
                <c:pt idx="6">
                  <c:v>1.61</c:v>
                </c:pt>
                <c:pt idx="7">
                  <c:v>1.65</c:v>
                </c:pt>
                <c:pt idx="8">
                  <c:v>1.66</c:v>
                </c:pt>
                <c:pt idx="9">
                  <c:v>1.64</c:v>
                </c:pt>
                <c:pt idx="10">
                  <c:v>1.63</c:v>
                </c:pt>
                <c:pt idx="11">
                  <c:v>1.63</c:v>
                </c:pt>
                <c:pt idx="12">
                  <c:v>1.65</c:v>
                </c:pt>
                <c:pt idx="13">
                  <c:v>1.65</c:v>
                </c:pt>
                <c:pt idx="14">
                  <c:v>1.65</c:v>
                </c:pt>
                <c:pt idx="15">
                  <c:v>1.65</c:v>
                </c:pt>
                <c:pt idx="16">
                  <c:v>1.64</c:v>
                </c:pt>
                <c:pt idx="17">
                  <c:v>1.61</c:v>
                </c:pt>
                <c:pt idx="18">
                  <c:v>1.64</c:v>
                </c:pt>
                <c:pt idx="19">
                  <c:v>1.65</c:v>
                </c:pt>
                <c:pt idx="20">
                  <c:v>1.66</c:v>
                </c:pt>
                <c:pt idx="21">
                  <c:v>1.67</c:v>
                </c:pt>
                <c:pt idx="22">
                  <c:v>1.68</c:v>
                </c:pt>
                <c:pt idx="23">
                  <c:v>1.67</c:v>
                </c:pt>
                <c:pt idx="24">
                  <c:v>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5</c:v>
                </c:pt>
                <c:pt idx="2">
                  <c:v>120</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50</c:v>
                </c:pt>
                <c:pt idx="2">
                  <c:v>854</c:v>
                </c:pt>
                <c:pt idx="3">
                  <c:v>13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0</c:v>
                </c:pt>
                <c:pt idx="2">
                  <c:v>126</c:v>
                </c:pt>
                <c:pt idx="3">
                  <c:v>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2</c:v>
                </c:pt>
                <c:pt idx="2">
                  <c:v>49</c:v>
                </c:pt>
                <c:pt idx="3">
                  <c:v>4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8</c:v>
                </c:pt>
                <c:pt idx="2">
                  <c:v>34</c:v>
                </c:pt>
                <c:pt idx="3">
                  <c:v>3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78.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6</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0</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6</c:v>
                </c:pt>
                <c:pt idx="2">
                  <c:v>38</c:v>
                </c:pt>
                <c:pt idx="3">
                  <c:v>3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92</c:v>
                </c:pt>
                <c:pt idx="3">
                  <c:v>8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19</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33</c:v>
                </c:pt>
                <c:pt idx="2">
                  <c:v>376</c:v>
                </c:pt>
                <c:pt idx="3">
                  <c:v>2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c:v>
                </c:pt>
                <c:pt idx="3">
                  <c:v>5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22</c:v>
                </c:pt>
                <c:pt idx="3">
                  <c:v>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15</c:v>
                </c:pt>
                <c:pt idx="3">
                  <c:v>10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73</c:v>
                </c:pt>
                <c:pt idx="3">
                  <c:v>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51.2"/>
          <c:min val="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93</c:v>
                </c:pt>
                <c:pt idx="3">
                  <c:v>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5</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0</c:v>
                </c:pt>
                <c:pt idx="3">
                  <c:v>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61</c:v>
                </c:pt>
                <c:pt idx="3">
                  <c:v>13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2</c:v>
                </c:pt>
                <c:pt idx="3">
                  <c:v>8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7</c:v>
                </c:pt>
                <c:pt idx="2">
                  <c:v>118</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14</c:v>
                </c:pt>
                <c:pt idx="3">
                  <c:v>8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1</c:v>
                </c:pt>
                <c:pt idx="2">
                  <c:v>112</c:v>
                </c:pt>
                <c:pt idx="3">
                  <c:v>13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4</c:v>
                </c:pt>
                <c:pt idx="2">
                  <c:v>35</c:v>
                </c:pt>
                <c:pt idx="3">
                  <c:v>2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179</c:v>
                </c:pt>
                <c:pt idx="3">
                  <c:v>1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81</c:v>
                </c:pt>
                <c:pt idx="3">
                  <c:v>7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4.79999999999998"/>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kg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1</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7</c:v>
                </c:pt>
                <c:pt idx="3">
                  <c:v>10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8</c:v>
                </c:pt>
                <c:pt idx="3">
                  <c:v>11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07</c:v>
                </c:pt>
                <c:pt idx="3">
                  <c:v>10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5</c:v>
                </c:pt>
                <c:pt idx="3">
                  <c:v>9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2</c:v>
                </c:pt>
                <c:pt idx="2">
                  <c:v>11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4"/>
          <c:order val="14"/>
          <c:tx>
            <c:strRef>
              <c:f>Sheet1!$B$1</c:f>
              <c:strCache>
                <c:ptCount val="1"/>
                <c:pt idx="0">
                  <c:v>Disposabl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1.083486</c:v>
                </c:pt>
                <c:pt idx="1">
                  <c:v>1.134804</c:v>
                </c:pt>
                <c:pt idx="2">
                  <c:v>1.210919</c:v>
                </c:pt>
                <c:pt idx="3">
                  <c:v>1.435066</c:v>
                </c:pt>
                <c:pt idx="4">
                  <c:v>1.254962</c:v>
                </c:pt>
                <c:pt idx="5">
                  <c:v>1.418715</c:v>
                </c:pt>
                <c:pt idx="6">
                  <c:v>1.493951</c:v>
                </c:pt>
                <c:pt idx="7">
                  <c:v>1.899769</c:v>
                </c:pt>
                <c:pt idx="8">
                  <c:v>1.68341</c:v>
                </c:pt>
                <c:pt idx="9">
                  <c:v>1.777608</c:v>
                </c:pt>
                <c:pt idx="10">
                  <c:v>1.613695</c:v>
                </c:pt>
                <c:pt idx="11">
                  <c:v>1.433737</c:v>
                </c:pt>
                <c:pt idx="12">
                  <c:v>1.464661</c:v>
                </c:pt>
                <c:pt idx="13">
                  <c:v>1.389356</c:v>
                </c:pt>
                <c:pt idx="14">
                  <c:v>1.470543</c:v>
                </c:pt>
                <c:pt idx="15">
                  <c:v>1.420578</c:v>
                </c:pt>
                <c:pt idx="16">
                  <c:v>1.531467</c:v>
                </c:pt>
                <c:pt idx="17">
                  <c:v>1.483146</c:v>
                </c:pt>
                <c:pt idx="18">
                  <c:v>1.433404</c:v>
                </c:pt>
                <c:pt idx="19">
                  <c:v>1.668866</c:v>
                </c:pt>
                <c:pt idx="20">
                  <c:v>1.926224</c:v>
                </c:pt>
                <c:pt idx="21">
                  <c:v>2.136293</c:v>
                </c:pt>
                <c:pt idx="22">
                  <c:v>1.649044</c:v>
                </c:pt>
                <c:pt idx="23">
                  <c:v>1.545335</c:v>
                </c:pt>
                <c:pt idx="24">
                  <c:v>1.749075</c:v>
                </c:pt>
                <c:pt idx="25">
                  <c:v>1.557422</c:v>
                </c:pt>
                <c:pt idx="26">
                  <c:v>1.620571</c:v>
                </c:pt>
                <c:pt idx="27">
                  <c:v>1.531764</c:v>
                </c:pt>
                <c:pt idx="28">
                  <c:v>1.55949</c:v>
                </c:pt>
                <c:pt idx="29">
                  <c:v>2.210727</c:v>
                </c:pt>
                <c:pt idx="30">
                  <c:v>2.160006</c:v>
                </c:pt>
                <c:pt idx="31">
                  <c:v>1.981439</c:v>
                </c:pt>
                <c:pt idx="32">
                  <c:v>2.154232</c:v>
                </c:pt>
                <c:pt idx="33">
                  <c:v>2.54221</c:v>
                </c:pt>
                <c:pt idx="34">
                  <c:v>2.083862</c:v>
                </c:pt>
              </c:numCache>
            </c:numRef>
          </c:val>
          <c:extLst>
            <c:ext xmlns:c16="http://schemas.microsoft.com/office/drawing/2014/chart" uri="{C3380CC4-5D6E-409C-BE32-E72D297353CC}">
              <c16:uniqueId val="{0000000B-CB01-4B89-A725-1CA2D0FD4A84}"/>
            </c:ext>
          </c:extLst>
        </c:ser>
        <c:ser>
          <c:idx val="15"/>
          <c:order val="15"/>
          <c:tx>
            <c:strRef>
              <c:f>Sheet1!$C$1</c:f>
              <c:strCache>
                <c:ptCount val="1"/>
                <c:pt idx="0">
                  <c:v>System</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5.166879</c:v>
                </c:pt>
                <c:pt idx="1">
                  <c:v>4.994925</c:v>
                </c:pt>
                <c:pt idx="2">
                  <c:v>5.366991</c:v>
                </c:pt>
                <c:pt idx="3">
                  <c:v>5.657186</c:v>
                </c:pt>
                <c:pt idx="4">
                  <c:v>5.003078</c:v>
                </c:pt>
                <c:pt idx="5">
                  <c:v>5.805329</c:v>
                </c:pt>
                <c:pt idx="6">
                  <c:v>5.890454</c:v>
                </c:pt>
                <c:pt idx="7">
                  <c:v>6.45134</c:v>
                </c:pt>
                <c:pt idx="8">
                  <c:v>6.725238</c:v>
                </c:pt>
                <c:pt idx="9">
                  <c:v>8.482106</c:v>
                </c:pt>
                <c:pt idx="10">
                  <c:v>6.884594</c:v>
                </c:pt>
                <c:pt idx="11">
                  <c:v>6.345342</c:v>
                </c:pt>
                <c:pt idx="12">
                  <c:v>6.520693</c:v>
                </c:pt>
                <c:pt idx="13">
                  <c:v>6.190939</c:v>
                </c:pt>
                <c:pt idx="14">
                  <c:v>6.602343</c:v>
                </c:pt>
                <c:pt idx="15">
                  <c:v>6.982483</c:v>
                </c:pt>
                <c:pt idx="16">
                  <c:v>6.551266</c:v>
                </c:pt>
                <c:pt idx="17">
                  <c:v>6.957868</c:v>
                </c:pt>
                <c:pt idx="18">
                  <c:v>6.853067</c:v>
                </c:pt>
                <c:pt idx="19">
                  <c:v>7.462777</c:v>
                </c:pt>
                <c:pt idx="20">
                  <c:v>7.680244</c:v>
                </c:pt>
                <c:pt idx="21">
                  <c:v>9.296212</c:v>
                </c:pt>
                <c:pt idx="22">
                  <c:v>7.968254</c:v>
                </c:pt>
                <c:pt idx="23">
                  <c:v>7.146652</c:v>
                </c:pt>
                <c:pt idx="24">
                  <c:v>7.215864</c:v>
                </c:pt>
                <c:pt idx="25">
                  <c:v>7.060672</c:v>
                </c:pt>
                <c:pt idx="26">
                  <c:v>6.844476</c:v>
                </c:pt>
                <c:pt idx="27">
                  <c:v>7.060137</c:v>
                </c:pt>
                <c:pt idx="28">
                  <c:v>7.14194</c:v>
                </c:pt>
                <c:pt idx="29">
                  <c:v>8.108564</c:v>
                </c:pt>
                <c:pt idx="30">
                  <c:v>8.308152</c:v>
                </c:pt>
                <c:pt idx="31">
                  <c:v>9.036388</c:v>
                </c:pt>
                <c:pt idx="32">
                  <c:v>9.204837</c:v>
                </c:pt>
                <c:pt idx="33">
                  <c:v>10.895547</c:v>
                </c:pt>
                <c:pt idx="34">
                  <c:v>9.43212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D$1</c:f>
              <c:strCache>
                <c:ptCount val="1"/>
                <c:pt idx="0">
                  <c:v>Total</c:v>
                </c:pt>
              </c:strCache>
            </c:strRef>
          </c:tx>
          <c:spPr>
            <a:solidFill>
              <a:srgbClr val="A6A6A6"/>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6.250365</c:v>
                </c:pt>
                <c:pt idx="1">
                  <c:v>6.129729</c:v>
                </c:pt>
                <c:pt idx="2">
                  <c:v>6.57791</c:v>
                </c:pt>
                <c:pt idx="3">
                  <c:v>7.092252</c:v>
                </c:pt>
                <c:pt idx="4">
                  <c:v>6.25804</c:v>
                </c:pt>
                <c:pt idx="5">
                  <c:v>7.224044</c:v>
                </c:pt>
                <c:pt idx="6">
                  <c:v>7.384405</c:v>
                </c:pt>
                <c:pt idx="7">
                  <c:v>8.351109</c:v>
                </c:pt>
                <c:pt idx="8">
                  <c:v>8.408648</c:v>
                </c:pt>
                <c:pt idx="9">
                  <c:v>10.259714</c:v>
                </c:pt>
                <c:pt idx="10">
                  <c:v>8.498289</c:v>
                </c:pt>
                <c:pt idx="11">
                  <c:v>7.779079</c:v>
                </c:pt>
                <c:pt idx="12">
                  <c:v>7.985354</c:v>
                </c:pt>
                <c:pt idx="13">
                  <c:v>7.580295</c:v>
                </c:pt>
                <c:pt idx="14">
                  <c:v>8.072886</c:v>
                </c:pt>
                <c:pt idx="15">
                  <c:v>8.403061</c:v>
                </c:pt>
                <c:pt idx="16">
                  <c:v>8.082733</c:v>
                </c:pt>
                <c:pt idx="17">
                  <c:v>8.441014</c:v>
                </c:pt>
                <c:pt idx="18">
                  <c:v>8.286471</c:v>
                </c:pt>
                <c:pt idx="19">
                  <c:v>9.131643</c:v>
                </c:pt>
                <c:pt idx="20">
                  <c:v>9.606468</c:v>
                </c:pt>
                <c:pt idx="21">
                  <c:v>11.432505</c:v>
                </c:pt>
                <c:pt idx="22">
                  <c:v>9.617298</c:v>
                </c:pt>
                <c:pt idx="23">
                  <c:v>8.691987</c:v>
                </c:pt>
                <c:pt idx="24">
                  <c:v>8.964939</c:v>
                </c:pt>
                <c:pt idx="25">
                  <c:v>8.618094</c:v>
                </c:pt>
                <c:pt idx="26">
                  <c:v>8.465047</c:v>
                </c:pt>
                <c:pt idx="27">
                  <c:v>8.591901</c:v>
                </c:pt>
                <c:pt idx="28">
                  <c:v>8.70143</c:v>
                </c:pt>
                <c:pt idx="29">
                  <c:v>10.319291</c:v>
                </c:pt>
                <c:pt idx="30">
                  <c:v>10.468158</c:v>
                </c:pt>
                <c:pt idx="31">
                  <c:v>11.017827</c:v>
                </c:pt>
                <c:pt idx="32">
                  <c:v>11.359069</c:v>
                </c:pt>
                <c:pt idx="33">
                  <c:v>13.437757</c:v>
                </c:pt>
                <c:pt idx="34">
                  <c:v>11.51598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1.84307</c:v>
                </c:pt>
                <c:pt idx="1">
                  <c:v>1.618002</c:v>
                </c:pt>
                <c:pt idx="2">
                  <c:v>1.800412</c:v>
                </c:pt>
                <c:pt idx="3">
                  <c:v>1.467202</c:v>
                </c:pt>
                <c:pt idx="4">
                  <c:v>1.75835</c:v>
                </c:pt>
                <c:pt idx="5">
                  <c:v>2.240589</c:v>
                </c:pt>
                <c:pt idx="6">
                  <c:v>2.188376</c:v>
                </c:pt>
                <c:pt idx="7">
                  <c:v>2.167473</c:v>
                </c:pt>
                <c:pt idx="8">
                  <c:v>2.037835</c:v>
                </c:pt>
                <c:pt idx="9">
                  <c:v>2.110326</c:v>
                </c:pt>
                <c:pt idx="10">
                  <c:v>2.313256</c:v>
                </c:pt>
                <c:pt idx="11">
                  <c:v>2.075313</c:v>
                </c:pt>
                <c:pt idx="12">
                  <c:v>2.033037</c:v>
                </c:pt>
                <c:pt idx="13">
                  <c:v>2.007544</c:v>
                </c:pt>
                <c:pt idx="14">
                  <c:v>2.528101</c:v>
                </c:pt>
                <c:pt idx="15">
                  <c:v>2.059586</c:v>
                </c:pt>
                <c:pt idx="16">
                  <c:v>1.975366</c:v>
                </c:pt>
                <c:pt idx="17">
                  <c:v>2.447184</c:v>
                </c:pt>
                <c:pt idx="18">
                  <c:v>2.27768</c:v>
                </c:pt>
                <c:pt idx="19">
                  <c:v>2.242012</c:v>
                </c:pt>
                <c:pt idx="20">
                  <c:v>2.213254</c:v>
                </c:pt>
                <c:pt idx="21">
                  <c:v>2.37575</c:v>
                </c:pt>
                <c:pt idx="22">
                  <c:v>2.531345</c:v>
                </c:pt>
                <c:pt idx="23">
                  <c:v>2.303165</c:v>
                </c:pt>
                <c:pt idx="24">
                  <c:v>2.390241</c:v>
                </c:pt>
                <c:pt idx="25">
                  <c:v>2.227848</c:v>
                </c:pt>
                <c:pt idx="26">
                  <c:v>2.529323</c:v>
                </c:pt>
                <c:pt idx="27">
                  <c:v>2.246718</c:v>
                </c:pt>
                <c:pt idx="28">
                  <c:v>2.221207</c:v>
                </c:pt>
                <c:pt idx="29">
                  <c:v>2.373127</c:v>
                </c:pt>
                <c:pt idx="30">
                  <c:v>2.2677</c:v>
                </c:pt>
                <c:pt idx="31">
                  <c:v>2.413107</c:v>
                </c:pt>
                <c:pt idx="32">
                  <c:v>2.422648</c:v>
                </c:pt>
                <c:pt idx="33">
                  <c:v>2.512785</c:v>
                </c:pt>
                <c:pt idx="34">
                  <c:v>2.47361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3.998096</c:v>
                </c:pt>
                <c:pt idx="1">
                  <c:v>13.498275</c:v>
                </c:pt>
                <c:pt idx="2">
                  <c:v>15.170905</c:v>
                </c:pt>
                <c:pt idx="3">
                  <c:v>11.936156</c:v>
                </c:pt>
                <c:pt idx="4">
                  <c:v>12.045197</c:v>
                </c:pt>
                <c:pt idx="5">
                  <c:v>14.847609</c:v>
                </c:pt>
                <c:pt idx="6">
                  <c:v>14.388601</c:v>
                </c:pt>
                <c:pt idx="7">
                  <c:v>15.328575</c:v>
                </c:pt>
                <c:pt idx="8">
                  <c:v>15.943466</c:v>
                </c:pt>
                <c:pt idx="9">
                  <c:v>16.568296</c:v>
                </c:pt>
                <c:pt idx="10">
                  <c:v>16.328948</c:v>
                </c:pt>
                <c:pt idx="11">
                  <c:v>13.903942</c:v>
                </c:pt>
                <c:pt idx="12">
                  <c:v>13.78687</c:v>
                </c:pt>
                <c:pt idx="13">
                  <c:v>12.967761</c:v>
                </c:pt>
                <c:pt idx="14">
                  <c:v>14.830612</c:v>
                </c:pt>
                <c:pt idx="15">
                  <c:v>11.934438</c:v>
                </c:pt>
                <c:pt idx="16">
                  <c:v>11.683988</c:v>
                </c:pt>
                <c:pt idx="17">
                  <c:v>13.594828</c:v>
                </c:pt>
                <c:pt idx="18">
                  <c:v>13.64822</c:v>
                </c:pt>
                <c:pt idx="19">
                  <c:v>15.361788</c:v>
                </c:pt>
                <c:pt idx="20">
                  <c:v>16.42362</c:v>
                </c:pt>
                <c:pt idx="21">
                  <c:v>16.731661</c:v>
                </c:pt>
                <c:pt idx="22">
                  <c:v>15.745765</c:v>
                </c:pt>
                <c:pt idx="23">
                  <c:v>13.278527</c:v>
                </c:pt>
                <c:pt idx="24">
                  <c:v>13.147419</c:v>
                </c:pt>
                <c:pt idx="25">
                  <c:v>12.640339</c:v>
                </c:pt>
                <c:pt idx="26">
                  <c:v>15.95261</c:v>
                </c:pt>
                <c:pt idx="27">
                  <c:v>11.775781</c:v>
                </c:pt>
                <c:pt idx="28">
                  <c:v>12.006458</c:v>
                </c:pt>
                <c:pt idx="29">
                  <c:v>13.656793</c:v>
                </c:pt>
                <c:pt idx="30">
                  <c:v>13.476069</c:v>
                </c:pt>
                <c:pt idx="31">
                  <c:v>15.03192</c:v>
                </c:pt>
                <c:pt idx="32">
                  <c:v>16.469975</c:v>
                </c:pt>
                <c:pt idx="33">
                  <c:v>16.499725</c:v>
                </c:pt>
                <c:pt idx="34">
                  <c:v>15.623029</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3.489983</c:v>
                </c:pt>
                <c:pt idx="1">
                  <c:v>13.88067</c:v>
                </c:pt>
                <c:pt idx="2">
                  <c:v>15.888146</c:v>
                </c:pt>
                <c:pt idx="3">
                  <c:v>11.588505</c:v>
                </c:pt>
                <c:pt idx="4">
                  <c:v>13.118775</c:v>
                </c:pt>
                <c:pt idx="5">
                  <c:v>16.390374</c:v>
                </c:pt>
                <c:pt idx="6">
                  <c:v>15.501589</c:v>
                </c:pt>
                <c:pt idx="7">
                  <c:v>16.549052</c:v>
                </c:pt>
                <c:pt idx="8">
                  <c:v>17.042355</c:v>
                </c:pt>
                <c:pt idx="9">
                  <c:v>17.363801</c:v>
                </c:pt>
                <c:pt idx="10">
                  <c:v>17.115458</c:v>
                </c:pt>
                <c:pt idx="11">
                  <c:v>14.099013</c:v>
                </c:pt>
                <c:pt idx="12">
                  <c:v>14.262124</c:v>
                </c:pt>
                <c:pt idx="13">
                  <c:v>13.65816</c:v>
                </c:pt>
                <c:pt idx="14">
                  <c:v>16.603109</c:v>
                </c:pt>
                <c:pt idx="15">
                  <c:v>12.638772</c:v>
                </c:pt>
                <c:pt idx="16">
                  <c:v>12.445663</c:v>
                </c:pt>
                <c:pt idx="17">
                  <c:v>14.523636</c:v>
                </c:pt>
                <c:pt idx="18">
                  <c:v>14.291351</c:v>
                </c:pt>
                <c:pt idx="19">
                  <c:v>15.833449</c:v>
                </c:pt>
                <c:pt idx="20">
                  <c:v>16.4555</c:v>
                </c:pt>
                <c:pt idx="21">
                  <c:v>17.436862</c:v>
                </c:pt>
                <c:pt idx="22">
                  <c:v>16.979949</c:v>
                </c:pt>
                <c:pt idx="23">
                  <c:v>13.825736</c:v>
                </c:pt>
                <c:pt idx="24">
                  <c:v>13.840085</c:v>
                </c:pt>
                <c:pt idx="25">
                  <c:v>13.797124</c:v>
                </c:pt>
                <c:pt idx="26">
                  <c:v>19.001872</c:v>
                </c:pt>
                <c:pt idx="27">
                  <c:v>12.381734</c:v>
                </c:pt>
                <c:pt idx="28">
                  <c:v>13.19693</c:v>
                </c:pt>
                <c:pt idx="29">
                  <c:v>15.115975</c:v>
                </c:pt>
                <c:pt idx="30">
                  <c:v>14.162521</c:v>
                </c:pt>
                <c:pt idx="31">
                  <c:v>15.527794</c:v>
                </c:pt>
                <c:pt idx="32">
                  <c:v>16.726613</c:v>
                </c:pt>
                <c:pt idx="33">
                  <c:v>17.142091</c:v>
                </c:pt>
                <c:pt idx="34">
                  <c:v>16.68672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29.331149</c:v>
                </c:pt>
                <c:pt idx="1">
                  <c:v>28.996947</c:v>
                </c:pt>
                <c:pt idx="2">
                  <c:v>32.859463</c:v>
                </c:pt>
                <c:pt idx="3">
                  <c:v>24.991863</c:v>
                </c:pt>
                <c:pt idx="4">
                  <c:v>26.922322</c:v>
                </c:pt>
                <c:pt idx="5">
                  <c:v>33.478572</c:v>
                </c:pt>
                <c:pt idx="6">
                  <c:v>32.078566</c:v>
                </c:pt>
                <c:pt idx="7">
                  <c:v>34.0451</c:v>
                </c:pt>
                <c:pt idx="8">
                  <c:v>35.023656</c:v>
                </c:pt>
                <c:pt idx="9">
                  <c:v>36.042423</c:v>
                </c:pt>
                <c:pt idx="10">
                  <c:v>35.757662</c:v>
                </c:pt>
                <c:pt idx="11">
                  <c:v>30.078268</c:v>
                </c:pt>
                <c:pt idx="12">
                  <c:v>30.082031</c:v>
                </c:pt>
                <c:pt idx="13">
                  <c:v>28.633465</c:v>
                </c:pt>
                <c:pt idx="14">
                  <c:v>33.961822</c:v>
                </c:pt>
                <c:pt idx="15">
                  <c:v>26.632796</c:v>
                </c:pt>
                <c:pt idx="16">
                  <c:v>26.105017</c:v>
                </c:pt>
                <c:pt idx="17">
                  <c:v>30.565648</c:v>
                </c:pt>
                <c:pt idx="18">
                  <c:v>30.217251</c:v>
                </c:pt>
                <c:pt idx="19">
                  <c:v>33.437249</c:v>
                </c:pt>
                <c:pt idx="20">
                  <c:v>35.092374</c:v>
                </c:pt>
                <c:pt idx="21">
                  <c:v>36.544273</c:v>
                </c:pt>
                <c:pt idx="22">
                  <c:v>35.257059</c:v>
                </c:pt>
                <c:pt idx="23">
                  <c:v>29.407428</c:v>
                </c:pt>
                <c:pt idx="24">
                  <c:v>29.377745</c:v>
                </c:pt>
                <c:pt idx="25">
                  <c:v>28.665311</c:v>
                </c:pt>
                <c:pt idx="26">
                  <c:v>37.483805</c:v>
                </c:pt>
                <c:pt idx="27">
                  <c:v>26.404233</c:v>
                </c:pt>
                <c:pt idx="28">
                  <c:v>27.424595</c:v>
                </c:pt>
                <c:pt idx="29">
                  <c:v>31.145895</c:v>
                </c:pt>
                <c:pt idx="30">
                  <c:v>29.90629</c:v>
                </c:pt>
                <c:pt idx="31">
                  <c:v>32.972821</c:v>
                </c:pt>
                <c:pt idx="32">
                  <c:v>35.619236</c:v>
                </c:pt>
                <c:pt idx="33">
                  <c:v>36.154601</c:v>
                </c:pt>
                <c:pt idx="34">
                  <c:v>34.78337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372,5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215,5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866,4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372559</c:v>
                </c:pt>
                <c:pt idx="1">
                  <c:v>24763766</c:v>
                </c:pt>
                <c:pt idx="2">
                  <c:v>24760820</c:v>
                </c:pt>
                <c:pt idx="3">
                  <c:v>23575649</c:v>
                </c:pt>
                <c:pt idx="4">
                  <c:v>28079370</c:v>
                </c:pt>
                <c:pt idx="5">
                  <c:v>21824049</c:v>
                </c:pt>
                <c:pt idx="6">
                  <c:v>21555739</c:v>
                </c:pt>
                <c:pt idx="7">
                  <c:v>25287942</c:v>
                </c:pt>
                <c:pt idx="8">
                  <c:v>24826027</c:v>
                </c:pt>
                <c:pt idx="9">
                  <c:v>27651719</c:v>
                </c:pt>
                <c:pt idx="10">
                  <c:v>29032481</c:v>
                </c:pt>
                <c:pt idx="11">
                  <c:v>30095999</c:v>
                </c:pt>
                <c:pt idx="12">
                  <c:v>29049277</c:v>
                </c:pt>
                <c:pt idx="13">
                  <c:v>24215539</c:v>
                </c:pt>
                <c:pt idx="14">
                  <c:v>24237247</c:v>
                </c:pt>
                <c:pt idx="15">
                  <c:v>23778892</c:v>
                </c:pt>
                <c:pt idx="16">
                  <c:v>31476376</c:v>
                </c:pt>
                <c:pt idx="17">
                  <c:v>21786608</c:v>
                </c:pt>
                <c:pt idx="18">
                  <c:v>22768948</c:v>
                </c:pt>
                <c:pt idx="19">
                  <c:v>25854990</c:v>
                </c:pt>
                <c:pt idx="20">
                  <c:v>24767481</c:v>
                </c:pt>
                <c:pt idx="21">
                  <c:v>27405167</c:v>
                </c:pt>
                <c:pt idx="22">
                  <c:v>29514334</c:v>
                </c:pt>
                <c:pt idx="23">
                  <c:v>29926088</c:v>
                </c:pt>
                <c:pt idx="24">
                  <c:v>288664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6</c:v>
                </c:pt>
                <c:pt idx="1">
                  <c:v>1.63</c:v>
                </c:pt>
                <c:pt idx="2">
                  <c:v>1.59</c:v>
                </c:pt>
                <c:pt idx="3">
                  <c:v>1.57</c:v>
                </c:pt>
                <c:pt idx="4">
                  <c:v>1.58</c:v>
                </c:pt>
                <c:pt idx="5">
                  <c:v>1.59</c:v>
                </c:pt>
                <c:pt idx="6">
                  <c:v>1.64</c:v>
                </c:pt>
                <c:pt idx="7">
                  <c:v>1.68</c:v>
                </c:pt>
                <c:pt idx="8">
                  <c:v>1.7</c:v>
                </c:pt>
                <c:pt idx="9">
                  <c:v>1.72</c:v>
                </c:pt>
                <c:pt idx="10">
                  <c:v>1.72</c:v>
                </c:pt>
                <c:pt idx="11">
                  <c:v>1.73</c:v>
                </c:pt>
                <c:pt idx="12">
                  <c:v>1.72</c:v>
                </c:pt>
                <c:pt idx="13">
                  <c:v>1.7</c:v>
                </c:pt>
                <c:pt idx="14">
                  <c:v>1.66</c:v>
                </c:pt>
                <c:pt idx="15">
                  <c:v>1.68</c:v>
                </c:pt>
                <c:pt idx="16">
                  <c:v>1.76</c:v>
                </c:pt>
                <c:pt idx="17">
                  <c:v>1.62</c:v>
                </c:pt>
                <c:pt idx="18">
                  <c:v>1.66</c:v>
                </c:pt>
                <c:pt idx="19">
                  <c:v>1.69</c:v>
                </c:pt>
                <c:pt idx="20">
                  <c:v>1.67</c:v>
                </c:pt>
                <c:pt idx="21">
                  <c:v>1.69</c:v>
                </c:pt>
                <c:pt idx="22">
                  <c:v>1.71</c:v>
                </c:pt>
                <c:pt idx="23">
                  <c:v>1.71</c:v>
                </c:pt>
                <c:pt idx="24">
                  <c:v>1.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4"/>
          <c:order val="14"/>
          <c:tx>
            <c:strRef>
              <c:f>Sheet1!$B$1</c:f>
              <c:strCache>
                <c:ptCount val="1"/>
                <c:pt idx="0">
                  <c:v>Disposabl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864241</c:v>
                </c:pt>
                <c:pt idx="1">
                  <c:v>0.927985</c:v>
                </c:pt>
                <c:pt idx="2">
                  <c:v>1.003475</c:v>
                </c:pt>
                <c:pt idx="3">
                  <c:v>1.130501</c:v>
                </c:pt>
                <c:pt idx="4">
                  <c:v>1.002125</c:v>
                </c:pt>
                <c:pt idx="5">
                  <c:v>1.167181</c:v>
                </c:pt>
                <c:pt idx="6">
                  <c:v>1.213345</c:v>
                </c:pt>
                <c:pt idx="7">
                  <c:v>1.578068</c:v>
                </c:pt>
                <c:pt idx="8">
                  <c:v>1.335153</c:v>
                </c:pt>
                <c:pt idx="9">
                  <c:v>1.461896</c:v>
                </c:pt>
                <c:pt idx="10">
                  <c:v>1.312924</c:v>
                </c:pt>
                <c:pt idx="11">
                  <c:v>1.183297</c:v>
                </c:pt>
                <c:pt idx="12">
                  <c:v>1.190678</c:v>
                </c:pt>
                <c:pt idx="13">
                  <c:v>1.130916</c:v>
                </c:pt>
                <c:pt idx="14">
                  <c:v>1.195124</c:v>
                </c:pt>
                <c:pt idx="15">
                  <c:v>1.145863</c:v>
                </c:pt>
                <c:pt idx="16">
                  <c:v>1.277539</c:v>
                </c:pt>
                <c:pt idx="17">
                  <c:v>1.229642</c:v>
                </c:pt>
                <c:pt idx="18">
                  <c:v>1.19103</c:v>
                </c:pt>
                <c:pt idx="19">
                  <c:v>1.377941</c:v>
                </c:pt>
                <c:pt idx="20">
                  <c:v>1.464105</c:v>
                </c:pt>
                <c:pt idx="21">
                  <c:v>1.714752</c:v>
                </c:pt>
                <c:pt idx="22">
                  <c:v>1.358314</c:v>
                </c:pt>
                <c:pt idx="23">
                  <c:v>1.24574</c:v>
                </c:pt>
                <c:pt idx="24">
                  <c:v>1.347298</c:v>
                </c:pt>
                <c:pt idx="25">
                  <c:v>1.259311</c:v>
                </c:pt>
                <c:pt idx="26">
                  <c:v>1.32509</c:v>
                </c:pt>
                <c:pt idx="27">
                  <c:v>1.245489</c:v>
                </c:pt>
                <c:pt idx="28">
                  <c:v>1.292818</c:v>
                </c:pt>
                <c:pt idx="29">
                  <c:v>1.632783</c:v>
                </c:pt>
                <c:pt idx="30">
                  <c:v>1.639565</c:v>
                </c:pt>
                <c:pt idx="31">
                  <c:v>1.646544</c:v>
                </c:pt>
                <c:pt idx="32">
                  <c:v>1.825679</c:v>
                </c:pt>
                <c:pt idx="33">
                  <c:v>2.198762</c:v>
                </c:pt>
                <c:pt idx="34">
                  <c:v>1.784063</c:v>
                </c:pt>
              </c:numCache>
            </c:numRef>
          </c:val>
          <c:extLst>
            <c:ext xmlns:c16="http://schemas.microsoft.com/office/drawing/2014/chart" uri="{C3380CC4-5D6E-409C-BE32-E72D297353CC}">
              <c16:uniqueId val="{0000000B-CB01-4B89-A725-1CA2D0FD4A84}"/>
            </c:ext>
          </c:extLst>
        </c:ser>
        <c:ser>
          <c:idx val="15"/>
          <c:order val="15"/>
          <c:tx>
            <c:strRef>
              <c:f>Sheet1!$C$1</c:f>
              <c:strCache>
                <c:ptCount val="1"/>
                <c:pt idx="0">
                  <c:v>System</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3.900121</c:v>
                </c:pt>
                <c:pt idx="1">
                  <c:v>3.722985</c:v>
                </c:pt>
                <c:pt idx="2">
                  <c:v>3.947945</c:v>
                </c:pt>
                <c:pt idx="3">
                  <c:v>4.152908</c:v>
                </c:pt>
                <c:pt idx="4">
                  <c:v>3.676103</c:v>
                </c:pt>
                <c:pt idx="5">
                  <c:v>4.005706</c:v>
                </c:pt>
                <c:pt idx="6">
                  <c:v>4.123656</c:v>
                </c:pt>
                <c:pt idx="7">
                  <c:v>4.48288</c:v>
                </c:pt>
                <c:pt idx="8">
                  <c:v>4.713316</c:v>
                </c:pt>
                <c:pt idx="9">
                  <c:v>6.189028</c:v>
                </c:pt>
                <c:pt idx="10">
                  <c:v>4.960212</c:v>
                </c:pt>
                <c:pt idx="11">
                  <c:v>4.675681</c:v>
                </c:pt>
                <c:pt idx="12">
                  <c:v>4.886119</c:v>
                </c:pt>
                <c:pt idx="13">
                  <c:v>4.540242</c:v>
                </c:pt>
                <c:pt idx="14">
                  <c:v>4.881251</c:v>
                </c:pt>
                <c:pt idx="15">
                  <c:v>5.138433</c:v>
                </c:pt>
                <c:pt idx="16">
                  <c:v>4.827799</c:v>
                </c:pt>
                <c:pt idx="17">
                  <c:v>5.111764</c:v>
                </c:pt>
                <c:pt idx="18">
                  <c:v>5.099776</c:v>
                </c:pt>
                <c:pt idx="19">
                  <c:v>5.508871</c:v>
                </c:pt>
                <c:pt idx="20">
                  <c:v>5.699533</c:v>
                </c:pt>
                <c:pt idx="21">
                  <c:v>6.89688</c:v>
                </c:pt>
                <c:pt idx="22">
                  <c:v>5.66367</c:v>
                </c:pt>
                <c:pt idx="23">
                  <c:v>5.205322</c:v>
                </c:pt>
                <c:pt idx="24">
                  <c:v>5.31893</c:v>
                </c:pt>
                <c:pt idx="25">
                  <c:v>5.156409</c:v>
                </c:pt>
                <c:pt idx="26">
                  <c:v>4.91923</c:v>
                </c:pt>
                <c:pt idx="27">
                  <c:v>5.11852</c:v>
                </c:pt>
                <c:pt idx="28">
                  <c:v>5.047365</c:v>
                </c:pt>
                <c:pt idx="29">
                  <c:v>5.801345</c:v>
                </c:pt>
                <c:pt idx="30">
                  <c:v>5.992577</c:v>
                </c:pt>
                <c:pt idx="31">
                  <c:v>6.57112</c:v>
                </c:pt>
                <c:pt idx="32">
                  <c:v>6.763778</c:v>
                </c:pt>
                <c:pt idx="33">
                  <c:v>8.370339</c:v>
                </c:pt>
                <c:pt idx="34">
                  <c:v>7.187013</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D$1</c:f>
              <c:strCache>
                <c:ptCount val="1"/>
                <c:pt idx="0">
                  <c:v>Total</c:v>
                </c:pt>
              </c:strCache>
            </c:strRef>
          </c:tx>
          <c:spPr>
            <a:solidFill>
              <a:srgbClr val="A6A6A6"/>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4.764362</c:v>
                </c:pt>
                <c:pt idx="1">
                  <c:v>4.65097</c:v>
                </c:pt>
                <c:pt idx="2">
                  <c:v>4.95142</c:v>
                </c:pt>
                <c:pt idx="3">
                  <c:v>5.283409</c:v>
                </c:pt>
                <c:pt idx="4">
                  <c:v>4.678228</c:v>
                </c:pt>
                <c:pt idx="5">
                  <c:v>5.172887</c:v>
                </c:pt>
                <c:pt idx="6">
                  <c:v>5.337001</c:v>
                </c:pt>
                <c:pt idx="7">
                  <c:v>6.060948</c:v>
                </c:pt>
                <c:pt idx="8">
                  <c:v>6.048469</c:v>
                </c:pt>
                <c:pt idx="9">
                  <c:v>7.650924</c:v>
                </c:pt>
                <c:pt idx="10">
                  <c:v>6.273136</c:v>
                </c:pt>
                <c:pt idx="11">
                  <c:v>5.858978</c:v>
                </c:pt>
                <c:pt idx="12">
                  <c:v>6.076797</c:v>
                </c:pt>
                <c:pt idx="13">
                  <c:v>5.671158</c:v>
                </c:pt>
                <c:pt idx="14">
                  <c:v>6.076375</c:v>
                </c:pt>
                <c:pt idx="15">
                  <c:v>6.284296</c:v>
                </c:pt>
                <c:pt idx="16">
                  <c:v>6.105338</c:v>
                </c:pt>
                <c:pt idx="17">
                  <c:v>6.341406</c:v>
                </c:pt>
                <c:pt idx="18">
                  <c:v>6.290806</c:v>
                </c:pt>
                <c:pt idx="19">
                  <c:v>6.886812</c:v>
                </c:pt>
                <c:pt idx="20">
                  <c:v>7.163638</c:v>
                </c:pt>
                <c:pt idx="21">
                  <c:v>8.611632</c:v>
                </c:pt>
                <c:pt idx="22">
                  <c:v>7.021984</c:v>
                </c:pt>
                <c:pt idx="23">
                  <c:v>6.451062</c:v>
                </c:pt>
                <c:pt idx="24">
                  <c:v>6.666228</c:v>
                </c:pt>
                <c:pt idx="25">
                  <c:v>6.41572</c:v>
                </c:pt>
                <c:pt idx="26">
                  <c:v>6.24432</c:v>
                </c:pt>
                <c:pt idx="27">
                  <c:v>6.364009</c:v>
                </c:pt>
                <c:pt idx="28">
                  <c:v>6.340183</c:v>
                </c:pt>
                <c:pt idx="29">
                  <c:v>7.434128</c:v>
                </c:pt>
                <c:pt idx="30">
                  <c:v>7.632142</c:v>
                </c:pt>
                <c:pt idx="31">
                  <c:v>8.217664</c:v>
                </c:pt>
                <c:pt idx="32">
                  <c:v>8.589457</c:v>
                </c:pt>
                <c:pt idx="33">
                  <c:v>10.569101</c:v>
                </c:pt>
                <c:pt idx="34">
                  <c:v>8.971076</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43576</c:v>
                </c:pt>
                <c:pt idx="1">
                  <c:v>0.407004</c:v>
                </c:pt>
                <c:pt idx="2">
                  <c:v>0.474008</c:v>
                </c:pt>
                <c:pt idx="3">
                  <c:v>0.383375</c:v>
                </c:pt>
                <c:pt idx="4">
                  <c:v>0.377838</c:v>
                </c:pt>
                <c:pt idx="5">
                  <c:v>0.547128</c:v>
                </c:pt>
                <c:pt idx="6">
                  <c:v>0.502242</c:v>
                </c:pt>
                <c:pt idx="7">
                  <c:v>0.616005</c:v>
                </c:pt>
                <c:pt idx="8">
                  <c:v>0.528027</c:v>
                </c:pt>
                <c:pt idx="9">
                  <c:v>0.493915</c:v>
                </c:pt>
                <c:pt idx="10">
                  <c:v>0.503563</c:v>
                </c:pt>
                <c:pt idx="11">
                  <c:v>0.483616</c:v>
                </c:pt>
                <c:pt idx="12">
                  <c:v>0.479453</c:v>
                </c:pt>
                <c:pt idx="13">
                  <c:v>0.441226</c:v>
                </c:pt>
                <c:pt idx="14">
                  <c:v>0.56996</c:v>
                </c:pt>
                <c:pt idx="15">
                  <c:v>0.50407</c:v>
                </c:pt>
                <c:pt idx="16">
                  <c:v>0.442229</c:v>
                </c:pt>
                <c:pt idx="17">
                  <c:v>0.544377</c:v>
                </c:pt>
                <c:pt idx="18">
                  <c:v>0.463737</c:v>
                </c:pt>
                <c:pt idx="19">
                  <c:v>0.412118</c:v>
                </c:pt>
                <c:pt idx="20">
                  <c:v>0.441688</c:v>
                </c:pt>
                <c:pt idx="21">
                  <c:v>0.477047</c:v>
                </c:pt>
                <c:pt idx="22">
                  <c:v>0.428909</c:v>
                </c:pt>
                <c:pt idx="23">
                  <c:v>0.435519</c:v>
                </c:pt>
                <c:pt idx="24">
                  <c:v>0.437287</c:v>
                </c:pt>
                <c:pt idx="25">
                  <c:v>0.365822</c:v>
                </c:pt>
                <c:pt idx="26">
                  <c:v>0.412027</c:v>
                </c:pt>
                <c:pt idx="27">
                  <c:v>0.375545</c:v>
                </c:pt>
                <c:pt idx="28">
                  <c:v>0.411722</c:v>
                </c:pt>
                <c:pt idx="29">
                  <c:v>0.46989</c:v>
                </c:pt>
                <c:pt idx="30">
                  <c:v>0.480731</c:v>
                </c:pt>
                <c:pt idx="31">
                  <c:v>0.482534</c:v>
                </c:pt>
                <c:pt idx="32">
                  <c:v>0.504813</c:v>
                </c:pt>
                <c:pt idx="33">
                  <c:v>0.55449</c:v>
                </c:pt>
                <c:pt idx="34">
                  <c:v>0.54992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2.338148</c:v>
                </c:pt>
                <c:pt idx="1">
                  <c:v>2.148581</c:v>
                </c:pt>
                <c:pt idx="2">
                  <c:v>1.875217</c:v>
                </c:pt>
                <c:pt idx="3">
                  <c:v>1.403246</c:v>
                </c:pt>
                <c:pt idx="4">
                  <c:v>1.669852</c:v>
                </c:pt>
                <c:pt idx="5">
                  <c:v>2.519015</c:v>
                </c:pt>
                <c:pt idx="6">
                  <c:v>2.212057</c:v>
                </c:pt>
                <c:pt idx="7">
                  <c:v>3.051144</c:v>
                </c:pt>
                <c:pt idx="8">
                  <c:v>2.339325</c:v>
                </c:pt>
                <c:pt idx="9">
                  <c:v>2.195462</c:v>
                </c:pt>
                <c:pt idx="10">
                  <c:v>1.991469</c:v>
                </c:pt>
                <c:pt idx="11">
                  <c:v>1.720918</c:v>
                </c:pt>
                <c:pt idx="12">
                  <c:v>1.829407</c:v>
                </c:pt>
                <c:pt idx="13">
                  <c:v>1.499606</c:v>
                </c:pt>
                <c:pt idx="14">
                  <c:v>1.609986</c:v>
                </c:pt>
                <c:pt idx="15">
                  <c:v>1.383221</c:v>
                </c:pt>
                <c:pt idx="16">
                  <c:v>1.746405</c:v>
                </c:pt>
                <c:pt idx="17">
                  <c:v>2.195652</c:v>
                </c:pt>
                <c:pt idx="18">
                  <c:v>2.046927</c:v>
                </c:pt>
                <c:pt idx="19">
                  <c:v>2.306423</c:v>
                </c:pt>
                <c:pt idx="20">
                  <c:v>2.61147</c:v>
                </c:pt>
                <c:pt idx="21">
                  <c:v>2.363585</c:v>
                </c:pt>
                <c:pt idx="22">
                  <c:v>1.949574</c:v>
                </c:pt>
                <c:pt idx="23">
                  <c:v>1.62064</c:v>
                </c:pt>
                <c:pt idx="24">
                  <c:v>1.876289</c:v>
                </c:pt>
                <c:pt idx="25">
                  <c:v>1.63647</c:v>
                </c:pt>
                <c:pt idx="26">
                  <c:v>1.812223</c:v>
                </c:pt>
                <c:pt idx="27">
                  <c:v>1.379378</c:v>
                </c:pt>
                <c:pt idx="28">
                  <c:v>1.4792</c:v>
                </c:pt>
                <c:pt idx="29">
                  <c:v>1.713958</c:v>
                </c:pt>
                <c:pt idx="30">
                  <c:v>2.218025</c:v>
                </c:pt>
                <c:pt idx="31">
                  <c:v>2.24344</c:v>
                </c:pt>
                <c:pt idx="32">
                  <c:v>2.389241</c:v>
                </c:pt>
                <c:pt idx="33">
                  <c:v>2.606508</c:v>
                </c:pt>
                <c:pt idx="34">
                  <c:v>3.36742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4.303019</c:v>
                </c:pt>
                <c:pt idx="1">
                  <c:v>3.866837</c:v>
                </c:pt>
                <c:pt idx="2">
                  <c:v>4.335678</c:v>
                </c:pt>
                <c:pt idx="3">
                  <c:v>3.883155</c:v>
                </c:pt>
                <c:pt idx="4">
                  <c:v>3.541757</c:v>
                </c:pt>
                <c:pt idx="5">
                  <c:v>6.155126</c:v>
                </c:pt>
                <c:pt idx="6">
                  <c:v>5.329176</c:v>
                </c:pt>
                <c:pt idx="7">
                  <c:v>5.611608</c:v>
                </c:pt>
                <c:pt idx="8">
                  <c:v>5.248507</c:v>
                </c:pt>
                <c:pt idx="9">
                  <c:v>5.081728</c:v>
                </c:pt>
                <c:pt idx="10">
                  <c:v>4.874403</c:v>
                </c:pt>
                <c:pt idx="11">
                  <c:v>4.061632</c:v>
                </c:pt>
                <c:pt idx="12">
                  <c:v>3.879358</c:v>
                </c:pt>
                <c:pt idx="13">
                  <c:v>3.511292</c:v>
                </c:pt>
                <c:pt idx="14">
                  <c:v>4.214885</c:v>
                </c:pt>
                <c:pt idx="15">
                  <c:v>3.744206</c:v>
                </c:pt>
                <c:pt idx="16">
                  <c:v>3.759512</c:v>
                </c:pt>
                <c:pt idx="17">
                  <c:v>5.253636</c:v>
                </c:pt>
                <c:pt idx="18">
                  <c:v>4.689123</c:v>
                </c:pt>
                <c:pt idx="19">
                  <c:v>5.734254</c:v>
                </c:pt>
                <c:pt idx="20">
                  <c:v>5.651768</c:v>
                </c:pt>
                <c:pt idx="21">
                  <c:v>5.474492</c:v>
                </c:pt>
                <c:pt idx="22">
                  <c:v>5.066269</c:v>
                </c:pt>
                <c:pt idx="23">
                  <c:v>4.404649</c:v>
                </c:pt>
                <c:pt idx="24">
                  <c:v>3.916131</c:v>
                </c:pt>
                <c:pt idx="25">
                  <c:v>3.577715</c:v>
                </c:pt>
                <c:pt idx="26">
                  <c:v>4.191728</c:v>
                </c:pt>
                <c:pt idx="27">
                  <c:v>3.535059</c:v>
                </c:pt>
                <c:pt idx="28">
                  <c:v>3.536179</c:v>
                </c:pt>
                <c:pt idx="29">
                  <c:v>4.090033</c:v>
                </c:pt>
                <c:pt idx="30">
                  <c:v>4.204209</c:v>
                </c:pt>
                <c:pt idx="31">
                  <c:v>4.654757</c:v>
                </c:pt>
                <c:pt idx="32">
                  <c:v>5.100493</c:v>
                </c:pt>
                <c:pt idx="33">
                  <c:v>5.300795</c:v>
                </c:pt>
                <c:pt idx="34">
                  <c:v>5.072208</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7.076927</c:v>
                </c:pt>
                <c:pt idx="1">
                  <c:v>6.422422</c:v>
                </c:pt>
                <c:pt idx="2">
                  <c:v>6.684903</c:v>
                </c:pt>
                <c:pt idx="3">
                  <c:v>5.669776</c:v>
                </c:pt>
                <c:pt idx="4">
                  <c:v>5.589447</c:v>
                </c:pt>
                <c:pt idx="5">
                  <c:v>9.221269</c:v>
                </c:pt>
                <c:pt idx="6">
                  <c:v>8.043475</c:v>
                </c:pt>
                <c:pt idx="7">
                  <c:v>9.278757</c:v>
                </c:pt>
                <c:pt idx="8">
                  <c:v>8.115859</c:v>
                </c:pt>
                <c:pt idx="9">
                  <c:v>7.771105</c:v>
                </c:pt>
                <c:pt idx="10">
                  <c:v>7.369435</c:v>
                </c:pt>
                <c:pt idx="11">
                  <c:v>6.266166</c:v>
                </c:pt>
                <c:pt idx="12">
                  <c:v>6.188218</c:v>
                </c:pt>
                <c:pt idx="13">
                  <c:v>5.452124</c:v>
                </c:pt>
                <c:pt idx="14">
                  <c:v>6.394831</c:v>
                </c:pt>
                <c:pt idx="15">
                  <c:v>5.631497</c:v>
                </c:pt>
                <c:pt idx="16">
                  <c:v>5.948146</c:v>
                </c:pt>
                <c:pt idx="17">
                  <c:v>7.993665</c:v>
                </c:pt>
                <c:pt idx="18">
                  <c:v>7.199787</c:v>
                </c:pt>
                <c:pt idx="19">
                  <c:v>8.452795</c:v>
                </c:pt>
                <c:pt idx="20">
                  <c:v>8.704926</c:v>
                </c:pt>
                <c:pt idx="21">
                  <c:v>8.315124</c:v>
                </c:pt>
                <c:pt idx="22">
                  <c:v>7.444752</c:v>
                </c:pt>
                <c:pt idx="23">
                  <c:v>6.460808</c:v>
                </c:pt>
                <c:pt idx="24">
                  <c:v>6.229707</c:v>
                </c:pt>
                <c:pt idx="25">
                  <c:v>5.580007</c:v>
                </c:pt>
                <c:pt idx="26">
                  <c:v>6.415978</c:v>
                </c:pt>
                <c:pt idx="27">
                  <c:v>5.289982</c:v>
                </c:pt>
                <c:pt idx="28">
                  <c:v>5.427101</c:v>
                </c:pt>
                <c:pt idx="29">
                  <c:v>6.273881</c:v>
                </c:pt>
                <c:pt idx="30">
                  <c:v>6.902965</c:v>
                </c:pt>
                <c:pt idx="31">
                  <c:v>7.380731</c:v>
                </c:pt>
                <c:pt idx="32">
                  <c:v>7.994547</c:v>
                </c:pt>
                <c:pt idx="33">
                  <c:v>8.461793</c:v>
                </c:pt>
                <c:pt idx="34">
                  <c:v>8.98956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250909</c:v>
                </c:pt>
                <c:pt idx="1">
                  <c:v>0.219568</c:v>
                </c:pt>
                <c:pt idx="2">
                  <c:v>0.235775</c:v>
                </c:pt>
                <c:pt idx="3">
                  <c:v>0.196225</c:v>
                </c:pt>
                <c:pt idx="4">
                  <c:v>0.232528</c:v>
                </c:pt>
                <c:pt idx="5">
                  <c:v>0.29483</c:v>
                </c:pt>
                <c:pt idx="6">
                  <c:v>0.284243</c:v>
                </c:pt>
                <c:pt idx="7">
                  <c:v>0.280078</c:v>
                </c:pt>
                <c:pt idx="8">
                  <c:v>0.262388</c:v>
                </c:pt>
                <c:pt idx="9">
                  <c:v>0.268018</c:v>
                </c:pt>
                <c:pt idx="10">
                  <c:v>0.304849</c:v>
                </c:pt>
                <c:pt idx="11">
                  <c:v>0.263731</c:v>
                </c:pt>
                <c:pt idx="12">
                  <c:v>0.259921</c:v>
                </c:pt>
                <c:pt idx="13">
                  <c:v>0.261831</c:v>
                </c:pt>
                <c:pt idx="14">
                  <c:v>0.320738</c:v>
                </c:pt>
                <c:pt idx="15">
                  <c:v>0.274227</c:v>
                </c:pt>
                <c:pt idx="16">
                  <c:v>0.258633</c:v>
                </c:pt>
                <c:pt idx="17">
                  <c:v>0.312597</c:v>
                </c:pt>
                <c:pt idx="18">
                  <c:v>0.299619</c:v>
                </c:pt>
                <c:pt idx="19">
                  <c:v>0.289852</c:v>
                </c:pt>
                <c:pt idx="20">
                  <c:v>0.294369</c:v>
                </c:pt>
                <c:pt idx="21">
                  <c:v>0.314433</c:v>
                </c:pt>
                <c:pt idx="22">
                  <c:v>0.335032</c:v>
                </c:pt>
                <c:pt idx="23">
                  <c:v>0.302186</c:v>
                </c:pt>
                <c:pt idx="24">
                  <c:v>0.311273</c:v>
                </c:pt>
                <c:pt idx="25">
                  <c:v>0.288822</c:v>
                </c:pt>
                <c:pt idx="26">
                  <c:v>0.325445</c:v>
                </c:pt>
                <c:pt idx="27">
                  <c:v>0.285805</c:v>
                </c:pt>
                <c:pt idx="28">
                  <c:v>0.275569</c:v>
                </c:pt>
                <c:pt idx="29">
                  <c:v>0.291639</c:v>
                </c:pt>
                <c:pt idx="30">
                  <c:v>0.278573</c:v>
                </c:pt>
                <c:pt idx="31">
                  <c:v>0.295122</c:v>
                </c:pt>
                <c:pt idx="32">
                  <c:v>0.293219</c:v>
                </c:pt>
                <c:pt idx="33">
                  <c:v>0.305647</c:v>
                </c:pt>
                <c:pt idx="34">
                  <c:v>0.308458</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979238</c:v>
                </c:pt>
                <c:pt idx="1">
                  <c:v>1.964219</c:v>
                </c:pt>
                <c:pt idx="2">
                  <c:v>2.167931</c:v>
                </c:pt>
                <c:pt idx="3">
                  <c:v>1.699455</c:v>
                </c:pt>
                <c:pt idx="4">
                  <c:v>1.714295</c:v>
                </c:pt>
                <c:pt idx="5">
                  <c:v>2.103759</c:v>
                </c:pt>
                <c:pt idx="6">
                  <c:v>2.068058</c:v>
                </c:pt>
                <c:pt idx="7">
                  <c:v>2.188763</c:v>
                </c:pt>
                <c:pt idx="8">
                  <c:v>2.3035</c:v>
                </c:pt>
                <c:pt idx="9">
                  <c:v>2.4571</c:v>
                </c:pt>
                <c:pt idx="10">
                  <c:v>2.464452</c:v>
                </c:pt>
                <c:pt idx="11">
                  <c:v>2.034657</c:v>
                </c:pt>
                <c:pt idx="12">
                  <c:v>2.019091</c:v>
                </c:pt>
                <c:pt idx="13">
                  <c:v>1.887306</c:v>
                </c:pt>
                <c:pt idx="14">
                  <c:v>2.176884</c:v>
                </c:pt>
                <c:pt idx="15">
                  <c:v>1.724515</c:v>
                </c:pt>
                <c:pt idx="16">
                  <c:v>1.657015</c:v>
                </c:pt>
                <c:pt idx="17">
                  <c:v>1.901187</c:v>
                </c:pt>
                <c:pt idx="18">
                  <c:v>1.987223</c:v>
                </c:pt>
                <c:pt idx="19">
                  <c:v>2.192659</c:v>
                </c:pt>
                <c:pt idx="20">
                  <c:v>2.363229</c:v>
                </c:pt>
                <c:pt idx="21">
                  <c:v>2.490268</c:v>
                </c:pt>
                <c:pt idx="22">
                  <c:v>2.36135</c:v>
                </c:pt>
                <c:pt idx="23">
                  <c:v>1.933838</c:v>
                </c:pt>
                <c:pt idx="24">
                  <c:v>1.927327</c:v>
                </c:pt>
                <c:pt idx="25">
                  <c:v>1.831248</c:v>
                </c:pt>
                <c:pt idx="26">
                  <c:v>2.258496</c:v>
                </c:pt>
                <c:pt idx="27">
                  <c:v>1.691112</c:v>
                </c:pt>
                <c:pt idx="28">
                  <c:v>1.694037</c:v>
                </c:pt>
                <c:pt idx="29">
                  <c:v>1.930984</c:v>
                </c:pt>
                <c:pt idx="30">
                  <c:v>1.899089</c:v>
                </c:pt>
                <c:pt idx="31">
                  <c:v>2.099074</c:v>
                </c:pt>
                <c:pt idx="32">
                  <c:v>2.369251</c:v>
                </c:pt>
                <c:pt idx="33">
                  <c:v>2.411175</c:v>
                </c:pt>
                <c:pt idx="34">
                  <c:v>2.276846</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581344</c:v>
                </c:pt>
                <c:pt idx="1">
                  <c:v>1.690149</c:v>
                </c:pt>
                <c:pt idx="2">
                  <c:v>1.940022</c:v>
                </c:pt>
                <c:pt idx="3">
                  <c:v>1.333551</c:v>
                </c:pt>
                <c:pt idx="4">
                  <c:v>1.511786</c:v>
                </c:pt>
                <c:pt idx="5">
                  <c:v>1.870361</c:v>
                </c:pt>
                <c:pt idx="6">
                  <c:v>1.782301</c:v>
                </c:pt>
                <c:pt idx="7">
                  <c:v>1.896325</c:v>
                </c:pt>
                <c:pt idx="8">
                  <c:v>1.990626</c:v>
                </c:pt>
                <c:pt idx="9">
                  <c:v>2.109932</c:v>
                </c:pt>
                <c:pt idx="10">
                  <c:v>2.096125</c:v>
                </c:pt>
                <c:pt idx="11">
                  <c:v>1.620755</c:v>
                </c:pt>
                <c:pt idx="12">
                  <c:v>1.667864</c:v>
                </c:pt>
                <c:pt idx="13">
                  <c:v>1.61551</c:v>
                </c:pt>
                <c:pt idx="14">
                  <c:v>2.003087</c:v>
                </c:pt>
                <c:pt idx="15">
                  <c:v>1.444511</c:v>
                </c:pt>
                <c:pt idx="16">
                  <c:v>1.37231</c:v>
                </c:pt>
                <c:pt idx="17">
                  <c:v>1.583866</c:v>
                </c:pt>
                <c:pt idx="18">
                  <c:v>1.639758</c:v>
                </c:pt>
                <c:pt idx="19">
                  <c:v>1.753464</c:v>
                </c:pt>
                <c:pt idx="20">
                  <c:v>1.844583</c:v>
                </c:pt>
                <c:pt idx="21">
                  <c:v>2.047417</c:v>
                </c:pt>
                <c:pt idx="22">
                  <c:v>1.98719</c:v>
                </c:pt>
                <c:pt idx="23">
                  <c:v>1.569107</c:v>
                </c:pt>
                <c:pt idx="24">
                  <c:v>1.554031</c:v>
                </c:pt>
                <c:pt idx="25">
                  <c:v>1.499498</c:v>
                </c:pt>
                <c:pt idx="26">
                  <c:v>1.962357</c:v>
                </c:pt>
                <c:pt idx="27">
                  <c:v>1.342437</c:v>
                </c:pt>
                <c:pt idx="28">
                  <c:v>1.392476</c:v>
                </c:pt>
                <c:pt idx="29">
                  <c:v>1.593834</c:v>
                </c:pt>
                <c:pt idx="30">
                  <c:v>1.511475</c:v>
                </c:pt>
                <c:pt idx="31">
                  <c:v>1.633178</c:v>
                </c:pt>
                <c:pt idx="32">
                  <c:v>1.842685</c:v>
                </c:pt>
                <c:pt idx="33">
                  <c:v>1.913041</c:v>
                </c:pt>
                <c:pt idx="34">
                  <c:v>1.8217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3.811491</c:v>
                </c:pt>
                <c:pt idx="1">
                  <c:v>3.873936</c:v>
                </c:pt>
                <c:pt idx="2">
                  <c:v>4.343728</c:v>
                </c:pt>
                <c:pt idx="3">
                  <c:v>3.229231</c:v>
                </c:pt>
                <c:pt idx="4">
                  <c:v>3.458609</c:v>
                </c:pt>
                <c:pt idx="5">
                  <c:v>4.26895</c:v>
                </c:pt>
                <c:pt idx="6">
                  <c:v>4.134602</c:v>
                </c:pt>
                <c:pt idx="7">
                  <c:v>4.365166</c:v>
                </c:pt>
                <c:pt idx="8">
                  <c:v>4.556514</c:v>
                </c:pt>
                <c:pt idx="9">
                  <c:v>4.83505</c:v>
                </c:pt>
                <c:pt idx="10">
                  <c:v>4.865426</c:v>
                </c:pt>
                <c:pt idx="11">
                  <c:v>3.919143</c:v>
                </c:pt>
                <c:pt idx="12">
                  <c:v>3.946876</c:v>
                </c:pt>
                <c:pt idx="13">
                  <c:v>3.764647</c:v>
                </c:pt>
                <c:pt idx="14">
                  <c:v>4.500709</c:v>
                </c:pt>
                <c:pt idx="15">
                  <c:v>3.443253</c:v>
                </c:pt>
                <c:pt idx="16">
                  <c:v>3.287958</c:v>
                </c:pt>
                <c:pt idx="17">
                  <c:v>3.79765</c:v>
                </c:pt>
                <c:pt idx="18">
                  <c:v>3.9266</c:v>
                </c:pt>
                <c:pt idx="19">
                  <c:v>4.235975</c:v>
                </c:pt>
                <c:pt idx="20">
                  <c:v>4.502181</c:v>
                </c:pt>
                <c:pt idx="21">
                  <c:v>4.852118</c:v>
                </c:pt>
                <c:pt idx="22">
                  <c:v>4.683572</c:v>
                </c:pt>
                <c:pt idx="23">
                  <c:v>3.805131</c:v>
                </c:pt>
                <c:pt idx="24">
                  <c:v>3.792631</c:v>
                </c:pt>
                <c:pt idx="25">
                  <c:v>3.619568</c:v>
                </c:pt>
                <c:pt idx="26">
                  <c:v>4.546298</c:v>
                </c:pt>
                <c:pt idx="27">
                  <c:v>3.319354</c:v>
                </c:pt>
                <c:pt idx="28">
                  <c:v>3.362082</c:v>
                </c:pt>
                <c:pt idx="29">
                  <c:v>3.816457</c:v>
                </c:pt>
                <c:pt idx="30">
                  <c:v>3.689137</c:v>
                </c:pt>
                <c:pt idx="31">
                  <c:v>4.027374</c:v>
                </c:pt>
                <c:pt idx="32">
                  <c:v>4.505155</c:v>
                </c:pt>
                <c:pt idx="33">
                  <c:v>4.629863</c:v>
                </c:pt>
                <c:pt idx="34">
                  <c:v>4.40705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085353</c:v>
                </c:pt>
                <c:pt idx="1">
                  <c:v>0.069504</c:v>
                </c:pt>
                <c:pt idx="2">
                  <c:v>0.068387</c:v>
                </c:pt>
                <c:pt idx="3">
                  <c:v>0.0645</c:v>
                </c:pt>
                <c:pt idx="4">
                  <c:v>0.078257</c:v>
                </c:pt>
                <c:pt idx="5">
                  <c:v>0.096831</c:v>
                </c:pt>
                <c:pt idx="6">
                  <c:v>0.092645</c:v>
                </c:pt>
                <c:pt idx="7">
                  <c:v>0.092033</c:v>
                </c:pt>
                <c:pt idx="8">
                  <c:v>0.085384</c:v>
                </c:pt>
                <c:pt idx="9">
                  <c:v>0.087726</c:v>
                </c:pt>
                <c:pt idx="10">
                  <c:v>0.092423</c:v>
                </c:pt>
                <c:pt idx="11">
                  <c:v>0.088835</c:v>
                </c:pt>
                <c:pt idx="12">
                  <c:v>0.090431</c:v>
                </c:pt>
                <c:pt idx="13">
                  <c:v>0.087494</c:v>
                </c:pt>
                <c:pt idx="14">
                  <c:v>0.097151</c:v>
                </c:pt>
                <c:pt idx="15">
                  <c:v>0.099666</c:v>
                </c:pt>
                <c:pt idx="16">
                  <c:v>0.094479</c:v>
                </c:pt>
                <c:pt idx="17">
                  <c:v>0.113285</c:v>
                </c:pt>
                <c:pt idx="18">
                  <c:v>0.106434</c:v>
                </c:pt>
                <c:pt idx="19">
                  <c:v>0.10776</c:v>
                </c:pt>
                <c:pt idx="20">
                  <c:v>0.10282</c:v>
                </c:pt>
                <c:pt idx="21">
                  <c:v>0.109052</c:v>
                </c:pt>
                <c:pt idx="22">
                  <c:v>0.11351</c:v>
                </c:pt>
                <c:pt idx="23">
                  <c:v>0.107433</c:v>
                </c:pt>
                <c:pt idx="24">
                  <c:v>0.110893</c:v>
                </c:pt>
                <c:pt idx="25">
                  <c:v>0.103604</c:v>
                </c:pt>
                <c:pt idx="26">
                  <c:v>0.106751</c:v>
                </c:pt>
                <c:pt idx="27">
                  <c:v>0.109417</c:v>
                </c:pt>
                <c:pt idx="28">
                  <c:v>0.108437</c:v>
                </c:pt>
                <c:pt idx="29">
                  <c:v>0.12228</c:v>
                </c:pt>
                <c:pt idx="30">
                  <c:v>0.114972</c:v>
                </c:pt>
                <c:pt idx="31">
                  <c:v>0.117992</c:v>
                </c:pt>
                <c:pt idx="32">
                  <c:v>0.116259</c:v>
                </c:pt>
                <c:pt idx="33">
                  <c:v>0.115742</c:v>
                </c:pt>
                <c:pt idx="34">
                  <c:v>0.109092</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0.705637</c:v>
                </c:pt>
                <c:pt idx="1">
                  <c:v>0.643222</c:v>
                </c:pt>
                <c:pt idx="2">
                  <c:v>0.683906</c:v>
                </c:pt>
                <c:pt idx="3">
                  <c:v>0.695238</c:v>
                </c:pt>
                <c:pt idx="4">
                  <c:v>0.653921</c:v>
                </c:pt>
                <c:pt idx="5">
                  <c:v>0.795217</c:v>
                </c:pt>
                <c:pt idx="6">
                  <c:v>0.773586</c:v>
                </c:pt>
                <c:pt idx="7">
                  <c:v>0.823702</c:v>
                </c:pt>
                <c:pt idx="8">
                  <c:v>0.825308</c:v>
                </c:pt>
                <c:pt idx="9">
                  <c:v>0.847355</c:v>
                </c:pt>
                <c:pt idx="10">
                  <c:v>0.81333</c:v>
                </c:pt>
                <c:pt idx="11">
                  <c:v>0.751864</c:v>
                </c:pt>
                <c:pt idx="12">
                  <c:v>0.730307</c:v>
                </c:pt>
                <c:pt idx="13">
                  <c:v>0.675308</c:v>
                </c:pt>
                <c:pt idx="14">
                  <c:v>0.695781</c:v>
                </c:pt>
                <c:pt idx="15">
                  <c:v>0.701053</c:v>
                </c:pt>
                <c:pt idx="16">
                  <c:v>0.651332</c:v>
                </c:pt>
                <c:pt idx="17">
                  <c:v>0.766774</c:v>
                </c:pt>
                <c:pt idx="18">
                  <c:v>0.764207</c:v>
                </c:pt>
                <c:pt idx="19">
                  <c:v>0.818709</c:v>
                </c:pt>
                <c:pt idx="20">
                  <c:v>0.831988</c:v>
                </c:pt>
                <c:pt idx="21">
                  <c:v>0.840755</c:v>
                </c:pt>
                <c:pt idx="22">
                  <c:v>0.793861</c:v>
                </c:pt>
                <c:pt idx="23">
                  <c:v>0.726699</c:v>
                </c:pt>
                <c:pt idx="24">
                  <c:v>0.703863</c:v>
                </c:pt>
                <c:pt idx="25">
                  <c:v>0.657216</c:v>
                </c:pt>
                <c:pt idx="26">
                  <c:v>0.781488</c:v>
                </c:pt>
                <c:pt idx="27">
                  <c:v>0.66898</c:v>
                </c:pt>
                <c:pt idx="28">
                  <c:v>0.668545</c:v>
                </c:pt>
                <c:pt idx="29">
                  <c:v>0.755725</c:v>
                </c:pt>
                <c:pt idx="30">
                  <c:v>0.752171</c:v>
                </c:pt>
                <c:pt idx="31">
                  <c:v>0.806996</c:v>
                </c:pt>
                <c:pt idx="32">
                  <c:v>0.827152</c:v>
                </c:pt>
                <c:pt idx="33">
                  <c:v>0.843007</c:v>
                </c:pt>
                <c:pt idx="34">
                  <c:v>0.797565</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0.511739</c:v>
                </c:pt>
                <c:pt idx="1">
                  <c:v>0.472299</c:v>
                </c:pt>
                <c:pt idx="2">
                  <c:v>0.52271</c:v>
                </c:pt>
                <c:pt idx="3">
                  <c:v>0.50466</c:v>
                </c:pt>
                <c:pt idx="4">
                  <c:v>0.497519</c:v>
                </c:pt>
                <c:pt idx="5">
                  <c:v>0.613904</c:v>
                </c:pt>
                <c:pt idx="6">
                  <c:v>0.604045</c:v>
                </c:pt>
                <c:pt idx="7">
                  <c:v>0.630096</c:v>
                </c:pt>
                <c:pt idx="8">
                  <c:v>0.632107</c:v>
                </c:pt>
                <c:pt idx="9">
                  <c:v>0.642972</c:v>
                </c:pt>
                <c:pt idx="10">
                  <c:v>0.613924</c:v>
                </c:pt>
                <c:pt idx="11">
                  <c:v>0.55466</c:v>
                </c:pt>
                <c:pt idx="12">
                  <c:v>0.553597</c:v>
                </c:pt>
                <c:pt idx="13">
                  <c:v>0.530367</c:v>
                </c:pt>
                <c:pt idx="14">
                  <c:v>0.588811</c:v>
                </c:pt>
                <c:pt idx="15">
                  <c:v>0.564775</c:v>
                </c:pt>
                <c:pt idx="16">
                  <c:v>0.515509</c:v>
                </c:pt>
                <c:pt idx="17">
                  <c:v>0.599997</c:v>
                </c:pt>
                <c:pt idx="18">
                  <c:v>0.593983</c:v>
                </c:pt>
                <c:pt idx="19">
                  <c:v>0.623086</c:v>
                </c:pt>
                <c:pt idx="20">
                  <c:v>0.622904</c:v>
                </c:pt>
                <c:pt idx="21">
                  <c:v>0.646349</c:v>
                </c:pt>
                <c:pt idx="22">
                  <c:v>0.616839</c:v>
                </c:pt>
                <c:pt idx="23">
                  <c:v>0.552626</c:v>
                </c:pt>
                <c:pt idx="24">
                  <c:v>0.533111</c:v>
                </c:pt>
                <c:pt idx="25">
                  <c:v>0.506031</c:v>
                </c:pt>
                <c:pt idx="26">
                  <c:v>0.572892</c:v>
                </c:pt>
                <c:pt idx="27">
                  <c:v>0.519874</c:v>
                </c:pt>
                <c:pt idx="28">
                  <c:v>0.516583</c:v>
                </c:pt>
                <c:pt idx="29">
                  <c:v>0.596443</c:v>
                </c:pt>
                <c:pt idx="30">
                  <c:v>0.582529</c:v>
                </c:pt>
                <c:pt idx="31">
                  <c:v>0.615292</c:v>
                </c:pt>
                <c:pt idx="32">
                  <c:v>0.656336</c:v>
                </c:pt>
                <c:pt idx="33">
                  <c:v>0.639901</c:v>
                </c:pt>
                <c:pt idx="34">
                  <c:v>0.60323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1.302729</c:v>
                </c:pt>
                <c:pt idx="1">
                  <c:v>1.185025</c:v>
                </c:pt>
                <c:pt idx="2">
                  <c:v>1.275003</c:v>
                </c:pt>
                <c:pt idx="3">
                  <c:v>1.264398</c:v>
                </c:pt>
                <c:pt idx="4">
                  <c:v>1.229697</c:v>
                </c:pt>
                <c:pt idx="5">
                  <c:v>1.505952</c:v>
                </c:pt>
                <c:pt idx="6">
                  <c:v>1.470276</c:v>
                </c:pt>
                <c:pt idx="7">
                  <c:v>1.545831</c:v>
                </c:pt>
                <c:pt idx="8">
                  <c:v>1.542799</c:v>
                </c:pt>
                <c:pt idx="9">
                  <c:v>1.578053</c:v>
                </c:pt>
                <c:pt idx="10">
                  <c:v>1.519677</c:v>
                </c:pt>
                <c:pt idx="11">
                  <c:v>1.395359</c:v>
                </c:pt>
                <c:pt idx="12">
                  <c:v>1.374335</c:v>
                </c:pt>
                <c:pt idx="13">
                  <c:v>1.293169</c:v>
                </c:pt>
                <c:pt idx="14">
                  <c:v>1.381743</c:v>
                </c:pt>
                <c:pt idx="15">
                  <c:v>1.365494</c:v>
                </c:pt>
                <c:pt idx="16">
                  <c:v>1.26132</c:v>
                </c:pt>
                <c:pt idx="17">
                  <c:v>1.480056</c:v>
                </c:pt>
                <c:pt idx="18">
                  <c:v>1.464624</c:v>
                </c:pt>
                <c:pt idx="19">
                  <c:v>1.549555</c:v>
                </c:pt>
                <c:pt idx="20">
                  <c:v>1.557712</c:v>
                </c:pt>
                <c:pt idx="21">
                  <c:v>1.596156</c:v>
                </c:pt>
                <c:pt idx="22">
                  <c:v>1.52421</c:v>
                </c:pt>
                <c:pt idx="23">
                  <c:v>1.386758</c:v>
                </c:pt>
                <c:pt idx="24">
                  <c:v>1.347867</c:v>
                </c:pt>
                <c:pt idx="25">
                  <c:v>1.266851</c:v>
                </c:pt>
                <c:pt idx="26">
                  <c:v>1.461131</c:v>
                </c:pt>
                <c:pt idx="27">
                  <c:v>1.298271</c:v>
                </c:pt>
                <c:pt idx="28">
                  <c:v>1.293565</c:v>
                </c:pt>
                <c:pt idx="29">
                  <c:v>1.474448</c:v>
                </c:pt>
                <c:pt idx="30">
                  <c:v>1.449672</c:v>
                </c:pt>
                <c:pt idx="31">
                  <c:v>1.54028</c:v>
                </c:pt>
                <c:pt idx="32">
                  <c:v>1.599747</c:v>
                </c:pt>
                <c:pt idx="33">
                  <c:v>1.59865</c:v>
                </c:pt>
                <c:pt idx="34">
                  <c:v>1.50989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1.506808</c:v>
                </c:pt>
                <c:pt idx="1">
                  <c:v>1.32893</c:v>
                </c:pt>
                <c:pt idx="2">
                  <c:v>1.49625</c:v>
                </c:pt>
                <c:pt idx="3">
                  <c:v>1.206477</c:v>
                </c:pt>
                <c:pt idx="4">
                  <c:v>1.447565</c:v>
                </c:pt>
                <c:pt idx="5">
                  <c:v>1.848928</c:v>
                </c:pt>
                <c:pt idx="6">
                  <c:v>1.811488</c:v>
                </c:pt>
                <c:pt idx="7">
                  <c:v>1.795362</c:v>
                </c:pt>
                <c:pt idx="8">
                  <c:v>1.690063</c:v>
                </c:pt>
                <c:pt idx="9">
                  <c:v>1.754582</c:v>
                </c:pt>
                <c:pt idx="10">
                  <c:v>1.915984</c:v>
                </c:pt>
                <c:pt idx="11">
                  <c:v>1.722747</c:v>
                </c:pt>
                <c:pt idx="12">
                  <c:v>1.682685</c:v>
                </c:pt>
                <c:pt idx="13">
                  <c:v>1.658219</c:v>
                </c:pt>
                <c:pt idx="14">
                  <c:v>2.110212</c:v>
                </c:pt>
                <c:pt idx="15">
                  <c:v>1.685693</c:v>
                </c:pt>
                <c:pt idx="16">
                  <c:v>1.622254</c:v>
                </c:pt>
                <c:pt idx="17">
                  <c:v>2.021302</c:v>
                </c:pt>
                <c:pt idx="18">
                  <c:v>1.871627</c:v>
                </c:pt>
                <c:pt idx="19">
                  <c:v>1.8444</c:v>
                </c:pt>
                <c:pt idx="20">
                  <c:v>1.816065</c:v>
                </c:pt>
                <c:pt idx="21">
                  <c:v>1.952265</c:v>
                </c:pt>
                <c:pt idx="22">
                  <c:v>2.082803</c:v>
                </c:pt>
                <c:pt idx="23">
                  <c:v>1.893546</c:v>
                </c:pt>
                <c:pt idx="24">
                  <c:v>1.968075</c:v>
                </c:pt>
                <c:pt idx="25">
                  <c:v>1.835422</c:v>
                </c:pt>
                <c:pt idx="26">
                  <c:v>2.097127</c:v>
                </c:pt>
                <c:pt idx="27">
                  <c:v>1.851496</c:v>
                </c:pt>
                <c:pt idx="28">
                  <c:v>1.837201</c:v>
                </c:pt>
                <c:pt idx="29">
                  <c:v>1.959208</c:v>
                </c:pt>
                <c:pt idx="30">
                  <c:v>1.874155</c:v>
                </c:pt>
                <c:pt idx="31">
                  <c:v>1.999993</c:v>
                </c:pt>
                <c:pt idx="32">
                  <c:v>2.01317</c:v>
                </c:pt>
                <c:pt idx="33">
                  <c:v>2.091396</c:v>
                </c:pt>
                <c:pt idx="34">
                  <c:v>2.05606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1.313221</c:v>
                </c:pt>
                <c:pt idx="1">
                  <c:v>10.890834</c:v>
                </c:pt>
                <c:pt idx="2">
                  <c:v>12.319068</c:v>
                </c:pt>
                <c:pt idx="3">
                  <c:v>9.541463</c:v>
                </c:pt>
                <c:pt idx="4">
                  <c:v>9.676981</c:v>
                </c:pt>
                <c:pt idx="5">
                  <c:v>11.948633</c:v>
                </c:pt>
                <c:pt idx="6">
                  <c:v>11.546957</c:v>
                </c:pt>
                <c:pt idx="7">
                  <c:v>12.31611</c:v>
                </c:pt>
                <c:pt idx="8">
                  <c:v>12.814658</c:v>
                </c:pt>
                <c:pt idx="9">
                  <c:v>13.263841</c:v>
                </c:pt>
                <c:pt idx="10">
                  <c:v>13.051166</c:v>
                </c:pt>
                <c:pt idx="11">
                  <c:v>11.117421</c:v>
                </c:pt>
                <c:pt idx="12">
                  <c:v>11.037472</c:v>
                </c:pt>
                <c:pt idx="13">
                  <c:v>10.405147</c:v>
                </c:pt>
                <c:pt idx="14">
                  <c:v>11.957947</c:v>
                </c:pt>
                <c:pt idx="15">
                  <c:v>9.50887</c:v>
                </c:pt>
                <c:pt idx="16">
                  <c:v>9.375641</c:v>
                </c:pt>
                <c:pt idx="17">
                  <c:v>10.926867</c:v>
                </c:pt>
                <c:pt idx="18">
                  <c:v>10.89679</c:v>
                </c:pt>
                <c:pt idx="19">
                  <c:v>12.35042</c:v>
                </c:pt>
                <c:pt idx="20">
                  <c:v>13.228403</c:v>
                </c:pt>
                <c:pt idx="21">
                  <c:v>13.400638</c:v>
                </c:pt>
                <c:pt idx="22">
                  <c:v>12.590554</c:v>
                </c:pt>
                <c:pt idx="23">
                  <c:v>10.61799</c:v>
                </c:pt>
                <c:pt idx="24">
                  <c:v>10.516229</c:v>
                </c:pt>
                <c:pt idx="25">
                  <c:v>10.151875</c:v>
                </c:pt>
                <c:pt idx="26">
                  <c:v>12.912626</c:v>
                </c:pt>
                <c:pt idx="27">
                  <c:v>9.415689</c:v>
                </c:pt>
                <c:pt idx="28">
                  <c:v>9.643876</c:v>
                </c:pt>
                <c:pt idx="29">
                  <c:v>10.970084</c:v>
                </c:pt>
                <c:pt idx="30">
                  <c:v>10.824809</c:v>
                </c:pt>
                <c:pt idx="31">
                  <c:v>12.12585</c:v>
                </c:pt>
                <c:pt idx="32">
                  <c:v>13.273572</c:v>
                </c:pt>
                <c:pt idx="33">
                  <c:v>13.245543</c:v>
                </c:pt>
                <c:pt idx="34">
                  <c:v>12.54861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1.3969</c:v>
                </c:pt>
                <c:pt idx="1">
                  <c:v>11.718222</c:v>
                </c:pt>
                <c:pt idx="2">
                  <c:v>13.425414</c:v>
                </c:pt>
                <c:pt idx="3">
                  <c:v>9.750294</c:v>
                </c:pt>
                <c:pt idx="4">
                  <c:v>11.10947</c:v>
                </c:pt>
                <c:pt idx="5">
                  <c:v>13.906109</c:v>
                </c:pt>
                <c:pt idx="6">
                  <c:v>13.115243</c:v>
                </c:pt>
                <c:pt idx="7">
                  <c:v>14.022631</c:v>
                </c:pt>
                <c:pt idx="8">
                  <c:v>14.419622</c:v>
                </c:pt>
                <c:pt idx="9">
                  <c:v>14.610897</c:v>
                </c:pt>
                <c:pt idx="10">
                  <c:v>14.405409</c:v>
                </c:pt>
                <c:pt idx="11">
                  <c:v>11.923598</c:v>
                </c:pt>
                <c:pt idx="12">
                  <c:v>12.040663</c:v>
                </c:pt>
                <c:pt idx="13">
                  <c:v>11.512283</c:v>
                </c:pt>
                <c:pt idx="14">
                  <c:v>14.011211</c:v>
                </c:pt>
                <c:pt idx="15">
                  <c:v>10.629486</c:v>
                </c:pt>
                <c:pt idx="16">
                  <c:v>10.557844</c:v>
                </c:pt>
                <c:pt idx="17">
                  <c:v>12.339773</c:v>
                </c:pt>
                <c:pt idx="18">
                  <c:v>12.05761</c:v>
                </c:pt>
                <c:pt idx="19">
                  <c:v>13.456899</c:v>
                </c:pt>
                <c:pt idx="20">
                  <c:v>13.988013</c:v>
                </c:pt>
                <c:pt idx="21">
                  <c:v>14.743096</c:v>
                </c:pt>
                <c:pt idx="22">
                  <c:v>14.37592</c:v>
                </c:pt>
                <c:pt idx="23">
                  <c:v>11.704003</c:v>
                </c:pt>
                <c:pt idx="24">
                  <c:v>11.752943</c:v>
                </c:pt>
                <c:pt idx="25">
                  <c:v>11.791595</c:v>
                </c:pt>
                <c:pt idx="26">
                  <c:v>16.466623</c:v>
                </c:pt>
                <c:pt idx="27">
                  <c:v>10.519423</c:v>
                </c:pt>
                <c:pt idx="28">
                  <c:v>11.287871</c:v>
                </c:pt>
                <c:pt idx="29">
                  <c:v>12.925698</c:v>
                </c:pt>
                <c:pt idx="30">
                  <c:v>12.068517</c:v>
                </c:pt>
                <c:pt idx="31">
                  <c:v>13.279324</c:v>
                </c:pt>
                <c:pt idx="32">
                  <c:v>14.227592</c:v>
                </c:pt>
                <c:pt idx="33">
                  <c:v>14.589149</c:v>
                </c:pt>
                <c:pt idx="34">
                  <c:v>14.26174</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24.216929</c:v>
                </c:pt>
                <c:pt idx="1">
                  <c:v>23.937986</c:v>
                </c:pt>
                <c:pt idx="2">
                  <c:v>27.240732</c:v>
                </c:pt>
                <c:pt idx="3">
                  <c:v>20.498234</c:v>
                </c:pt>
                <c:pt idx="4">
                  <c:v>22.234016</c:v>
                </c:pt>
                <c:pt idx="5">
                  <c:v>27.70367</c:v>
                </c:pt>
                <c:pt idx="6">
                  <c:v>26.473688</c:v>
                </c:pt>
                <c:pt idx="7">
                  <c:v>28.134103</c:v>
                </c:pt>
                <c:pt idx="8">
                  <c:v>28.924343</c:v>
                </c:pt>
                <c:pt idx="9">
                  <c:v>29.62932</c:v>
                </c:pt>
                <c:pt idx="10">
                  <c:v>29.372559</c:v>
                </c:pt>
                <c:pt idx="11">
                  <c:v>24.763766</c:v>
                </c:pt>
                <c:pt idx="12">
                  <c:v>24.76082</c:v>
                </c:pt>
                <c:pt idx="13">
                  <c:v>23.575649</c:v>
                </c:pt>
                <c:pt idx="14">
                  <c:v>28.07937</c:v>
                </c:pt>
                <c:pt idx="15">
                  <c:v>21.824049</c:v>
                </c:pt>
                <c:pt idx="16">
                  <c:v>21.555739</c:v>
                </c:pt>
                <c:pt idx="17">
                  <c:v>25.287942</c:v>
                </c:pt>
                <c:pt idx="18">
                  <c:v>24.826027</c:v>
                </c:pt>
                <c:pt idx="19">
                  <c:v>27.651719</c:v>
                </c:pt>
                <c:pt idx="20">
                  <c:v>29.032481</c:v>
                </c:pt>
                <c:pt idx="21">
                  <c:v>30.095999</c:v>
                </c:pt>
                <c:pt idx="22">
                  <c:v>29.049277</c:v>
                </c:pt>
                <c:pt idx="23">
                  <c:v>24.215539</c:v>
                </c:pt>
                <c:pt idx="24">
                  <c:v>24.237247</c:v>
                </c:pt>
                <c:pt idx="25">
                  <c:v>23.778892</c:v>
                </c:pt>
                <c:pt idx="26">
                  <c:v>31.476376</c:v>
                </c:pt>
                <c:pt idx="27">
                  <c:v>21.786608</c:v>
                </c:pt>
                <c:pt idx="28">
                  <c:v>22.768948</c:v>
                </c:pt>
                <c:pt idx="29">
                  <c:v>25.85499</c:v>
                </c:pt>
                <c:pt idx="30">
                  <c:v>24.767481</c:v>
                </c:pt>
                <c:pt idx="31">
                  <c:v>27.405167</c:v>
                </c:pt>
                <c:pt idx="32">
                  <c:v>29.514334</c:v>
                </c:pt>
                <c:pt idx="33">
                  <c:v>29.926088</c:v>
                </c:pt>
                <c:pt idx="34">
                  <c:v>28.86642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4"/>
          <c:order val="14"/>
          <c:tx>
            <c:strRef>
              <c:f>Sheet1!$B$1</c:f>
              <c:strCache>
                <c:ptCount val="1"/>
                <c:pt idx="0">
                  <c:v>Disposabl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219245</c:v>
                </c:pt>
                <c:pt idx="1">
                  <c:v>0.206819</c:v>
                </c:pt>
                <c:pt idx="2">
                  <c:v>0.207444</c:v>
                </c:pt>
                <c:pt idx="3">
                  <c:v>0.304565</c:v>
                </c:pt>
                <c:pt idx="4">
                  <c:v>0.252837</c:v>
                </c:pt>
                <c:pt idx="5">
                  <c:v>0.251534</c:v>
                </c:pt>
                <c:pt idx="6">
                  <c:v>0.280606</c:v>
                </c:pt>
                <c:pt idx="7">
                  <c:v>0.321701</c:v>
                </c:pt>
                <c:pt idx="8">
                  <c:v>0.348257</c:v>
                </c:pt>
                <c:pt idx="9">
                  <c:v>0.315712</c:v>
                </c:pt>
                <c:pt idx="10">
                  <c:v>0.300771</c:v>
                </c:pt>
                <c:pt idx="11">
                  <c:v>0.25044</c:v>
                </c:pt>
                <c:pt idx="12">
                  <c:v>0.273983</c:v>
                </c:pt>
                <c:pt idx="13">
                  <c:v>0.25844</c:v>
                </c:pt>
                <c:pt idx="14">
                  <c:v>0.275419</c:v>
                </c:pt>
                <c:pt idx="15">
                  <c:v>0.274715</c:v>
                </c:pt>
                <c:pt idx="16">
                  <c:v>0.253928</c:v>
                </c:pt>
                <c:pt idx="17">
                  <c:v>0.253504</c:v>
                </c:pt>
                <c:pt idx="18">
                  <c:v>0.242374</c:v>
                </c:pt>
                <c:pt idx="19">
                  <c:v>0.290925</c:v>
                </c:pt>
                <c:pt idx="20">
                  <c:v>0.462119</c:v>
                </c:pt>
                <c:pt idx="21">
                  <c:v>0.421541</c:v>
                </c:pt>
                <c:pt idx="22">
                  <c:v>0.29073</c:v>
                </c:pt>
                <c:pt idx="23">
                  <c:v>0.299595</c:v>
                </c:pt>
                <c:pt idx="24">
                  <c:v>0.401777</c:v>
                </c:pt>
                <c:pt idx="25">
                  <c:v>0.298111</c:v>
                </c:pt>
                <c:pt idx="26">
                  <c:v>0.295481</c:v>
                </c:pt>
                <c:pt idx="27">
                  <c:v>0.286275</c:v>
                </c:pt>
                <c:pt idx="28">
                  <c:v>0.266672</c:v>
                </c:pt>
                <c:pt idx="29">
                  <c:v>0.577944</c:v>
                </c:pt>
                <c:pt idx="30">
                  <c:v>0.520441</c:v>
                </c:pt>
                <c:pt idx="31">
                  <c:v>0.334895</c:v>
                </c:pt>
                <c:pt idx="32">
                  <c:v>0.328553</c:v>
                </c:pt>
                <c:pt idx="33">
                  <c:v>0.343448</c:v>
                </c:pt>
                <c:pt idx="34">
                  <c:v>0.299799</c:v>
                </c:pt>
              </c:numCache>
            </c:numRef>
          </c:val>
          <c:extLst>
            <c:ext xmlns:c16="http://schemas.microsoft.com/office/drawing/2014/chart" uri="{C3380CC4-5D6E-409C-BE32-E72D297353CC}">
              <c16:uniqueId val="{0000000B-CB01-4B89-A725-1CA2D0FD4A84}"/>
            </c:ext>
          </c:extLst>
        </c:ser>
        <c:ser>
          <c:idx val="15"/>
          <c:order val="15"/>
          <c:tx>
            <c:strRef>
              <c:f>Sheet1!$C$1</c:f>
              <c:strCache>
                <c:ptCount val="1"/>
                <c:pt idx="0">
                  <c:v>System</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266758</c:v>
                </c:pt>
                <c:pt idx="1">
                  <c:v>1.27194</c:v>
                </c:pt>
                <c:pt idx="2">
                  <c:v>1.419046</c:v>
                </c:pt>
                <c:pt idx="3">
                  <c:v>1.504278</c:v>
                </c:pt>
                <c:pt idx="4">
                  <c:v>1.326975</c:v>
                </c:pt>
                <c:pt idx="5">
                  <c:v>1.799623</c:v>
                </c:pt>
                <c:pt idx="6">
                  <c:v>1.766798</c:v>
                </c:pt>
                <c:pt idx="7">
                  <c:v>1.96846</c:v>
                </c:pt>
                <c:pt idx="8">
                  <c:v>2.011922</c:v>
                </c:pt>
                <c:pt idx="9">
                  <c:v>2.293078</c:v>
                </c:pt>
                <c:pt idx="10">
                  <c:v>1.924382</c:v>
                </c:pt>
                <c:pt idx="11">
                  <c:v>1.669661</c:v>
                </c:pt>
                <c:pt idx="12">
                  <c:v>1.634574</c:v>
                </c:pt>
                <c:pt idx="13">
                  <c:v>1.650697</c:v>
                </c:pt>
                <c:pt idx="14">
                  <c:v>1.721092</c:v>
                </c:pt>
                <c:pt idx="15">
                  <c:v>1.84405</c:v>
                </c:pt>
                <c:pt idx="16">
                  <c:v>1.723467</c:v>
                </c:pt>
                <c:pt idx="17">
                  <c:v>1.846104</c:v>
                </c:pt>
                <c:pt idx="18">
                  <c:v>1.753291</c:v>
                </c:pt>
                <c:pt idx="19">
                  <c:v>1.953906</c:v>
                </c:pt>
                <c:pt idx="20">
                  <c:v>1.980711</c:v>
                </c:pt>
                <c:pt idx="21">
                  <c:v>2.399332</c:v>
                </c:pt>
                <c:pt idx="22">
                  <c:v>2.304584</c:v>
                </c:pt>
                <c:pt idx="23">
                  <c:v>1.94133</c:v>
                </c:pt>
                <c:pt idx="24">
                  <c:v>1.896934</c:v>
                </c:pt>
                <c:pt idx="25">
                  <c:v>1.904263</c:v>
                </c:pt>
                <c:pt idx="26">
                  <c:v>1.925246</c:v>
                </c:pt>
                <c:pt idx="27">
                  <c:v>1.941617</c:v>
                </c:pt>
                <c:pt idx="28">
                  <c:v>2.094575</c:v>
                </c:pt>
                <c:pt idx="29">
                  <c:v>2.307219</c:v>
                </c:pt>
                <c:pt idx="30">
                  <c:v>2.315575</c:v>
                </c:pt>
                <c:pt idx="31">
                  <c:v>2.465268</c:v>
                </c:pt>
                <c:pt idx="32">
                  <c:v>2.441059</c:v>
                </c:pt>
                <c:pt idx="33">
                  <c:v>2.525208</c:v>
                </c:pt>
                <c:pt idx="34">
                  <c:v>2.245114</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D$1</c:f>
              <c:strCache>
                <c:ptCount val="1"/>
                <c:pt idx="0">
                  <c:v>Total</c:v>
                </c:pt>
              </c:strCache>
            </c:strRef>
          </c:tx>
          <c:spPr>
            <a:solidFill>
              <a:srgbClr val="A6A6A6"/>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486003</c:v>
                </c:pt>
                <c:pt idx="1">
                  <c:v>1.478759</c:v>
                </c:pt>
                <c:pt idx="2">
                  <c:v>1.62649</c:v>
                </c:pt>
                <c:pt idx="3">
                  <c:v>1.808843</c:v>
                </c:pt>
                <c:pt idx="4">
                  <c:v>1.579812</c:v>
                </c:pt>
                <c:pt idx="5">
                  <c:v>2.051157</c:v>
                </c:pt>
                <c:pt idx="6">
                  <c:v>2.047404</c:v>
                </c:pt>
                <c:pt idx="7">
                  <c:v>2.290161</c:v>
                </c:pt>
                <c:pt idx="8">
                  <c:v>2.360179</c:v>
                </c:pt>
                <c:pt idx="9">
                  <c:v>2.60879</c:v>
                </c:pt>
                <c:pt idx="10">
                  <c:v>2.225153</c:v>
                </c:pt>
                <c:pt idx="11">
                  <c:v>1.920101</c:v>
                </c:pt>
                <c:pt idx="12">
                  <c:v>1.908557</c:v>
                </c:pt>
                <c:pt idx="13">
                  <c:v>1.909137</c:v>
                </c:pt>
                <c:pt idx="14">
                  <c:v>1.996511</c:v>
                </c:pt>
                <c:pt idx="15">
                  <c:v>2.118765</c:v>
                </c:pt>
                <c:pt idx="16">
                  <c:v>1.977395</c:v>
                </c:pt>
                <c:pt idx="17">
                  <c:v>2.099608</c:v>
                </c:pt>
                <c:pt idx="18">
                  <c:v>1.995665</c:v>
                </c:pt>
                <c:pt idx="19">
                  <c:v>2.244831</c:v>
                </c:pt>
                <c:pt idx="20">
                  <c:v>2.44283</c:v>
                </c:pt>
                <c:pt idx="21">
                  <c:v>2.820873</c:v>
                </c:pt>
                <c:pt idx="22">
                  <c:v>2.595314</c:v>
                </c:pt>
                <c:pt idx="23">
                  <c:v>2.240925</c:v>
                </c:pt>
                <c:pt idx="24">
                  <c:v>2.298711</c:v>
                </c:pt>
                <c:pt idx="25">
                  <c:v>2.202374</c:v>
                </c:pt>
                <c:pt idx="26">
                  <c:v>2.220727</c:v>
                </c:pt>
                <c:pt idx="27">
                  <c:v>2.227892</c:v>
                </c:pt>
                <c:pt idx="28">
                  <c:v>2.361247</c:v>
                </c:pt>
                <c:pt idx="29">
                  <c:v>2.885163</c:v>
                </c:pt>
                <c:pt idx="30">
                  <c:v>2.836016</c:v>
                </c:pt>
                <c:pt idx="31">
                  <c:v>2.800163</c:v>
                </c:pt>
                <c:pt idx="32">
                  <c:v>2.769612</c:v>
                </c:pt>
                <c:pt idx="33">
                  <c:v>2.868656</c:v>
                </c:pt>
                <c:pt idx="34">
                  <c:v>2.544913</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782,8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922,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111,2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782801</c:v>
                </c:pt>
                <c:pt idx="1">
                  <c:v>8303241</c:v>
                </c:pt>
                <c:pt idx="2">
                  <c:v>8225209</c:v>
                </c:pt>
                <c:pt idx="3">
                  <c:v>7736552</c:v>
                </c:pt>
                <c:pt idx="4">
                  <c:v>9179875</c:v>
                </c:pt>
                <c:pt idx="5">
                  <c:v>7324440</c:v>
                </c:pt>
                <c:pt idx="6">
                  <c:v>7088523</c:v>
                </c:pt>
                <c:pt idx="7">
                  <c:v>8166385</c:v>
                </c:pt>
                <c:pt idx="8">
                  <c:v>8293270</c:v>
                </c:pt>
                <c:pt idx="9">
                  <c:v>9149392</c:v>
                </c:pt>
                <c:pt idx="10">
                  <c:v>9725405</c:v>
                </c:pt>
                <c:pt idx="11">
                  <c:v>10107942</c:v>
                </c:pt>
                <c:pt idx="12">
                  <c:v>9668344</c:v>
                </c:pt>
                <c:pt idx="13">
                  <c:v>7922505</c:v>
                </c:pt>
                <c:pt idx="14">
                  <c:v>7574894</c:v>
                </c:pt>
                <c:pt idx="15">
                  <c:v>7496867</c:v>
                </c:pt>
                <c:pt idx="16">
                  <c:v>9349832</c:v>
                </c:pt>
                <c:pt idx="17">
                  <c:v>7136608</c:v>
                </c:pt>
                <c:pt idx="18">
                  <c:v>7043468</c:v>
                </c:pt>
                <c:pt idx="19">
                  <c:v>8033962</c:v>
                </c:pt>
                <c:pt idx="20">
                  <c:v>7795536</c:v>
                </c:pt>
                <c:pt idx="21">
                  <c:v>8609609</c:v>
                </c:pt>
                <c:pt idx="22">
                  <c:v>9306811</c:v>
                </c:pt>
                <c:pt idx="23">
                  <c:v>9532001</c:v>
                </c:pt>
                <c:pt idx="24">
                  <c:v>911123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c:v>
                </c:pt>
                <c:pt idx="1">
                  <c:v>1.69</c:v>
                </c:pt>
                <c:pt idx="2">
                  <c:v>1.67</c:v>
                </c:pt>
                <c:pt idx="3">
                  <c:v>1.64</c:v>
                </c:pt>
                <c:pt idx="4">
                  <c:v>1.58</c:v>
                </c:pt>
                <c:pt idx="5">
                  <c:v>1.7</c:v>
                </c:pt>
                <c:pt idx="6">
                  <c:v>1.78</c:v>
                </c:pt>
                <c:pt idx="7">
                  <c:v>1.82</c:v>
                </c:pt>
                <c:pt idx="8">
                  <c:v>1.85</c:v>
                </c:pt>
                <c:pt idx="9">
                  <c:v>1.85</c:v>
                </c:pt>
                <c:pt idx="10">
                  <c:v>1.85</c:v>
                </c:pt>
                <c:pt idx="11">
                  <c:v>1.87</c:v>
                </c:pt>
                <c:pt idx="12">
                  <c:v>1.88</c:v>
                </c:pt>
                <c:pt idx="13">
                  <c:v>1.87</c:v>
                </c:pt>
                <c:pt idx="14">
                  <c:v>1.86</c:v>
                </c:pt>
                <c:pt idx="15">
                  <c:v>1.9</c:v>
                </c:pt>
                <c:pt idx="16">
                  <c:v>1.87</c:v>
                </c:pt>
                <c:pt idx="17">
                  <c:v>1.81</c:v>
                </c:pt>
                <c:pt idx="18">
                  <c:v>1.84</c:v>
                </c:pt>
                <c:pt idx="19">
                  <c:v>1.87</c:v>
                </c:pt>
                <c:pt idx="20">
                  <c:v>1.87</c:v>
                </c:pt>
                <c:pt idx="21">
                  <c:v>1.86</c:v>
                </c:pt>
                <c:pt idx="22">
                  <c:v>1.88</c:v>
                </c:pt>
                <c:pt idx="23">
                  <c:v>1.88</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982,1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577,2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757,2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982153</c:v>
                </c:pt>
                <c:pt idx="1">
                  <c:v>13036567</c:v>
                </c:pt>
                <c:pt idx="2">
                  <c:v>12955538</c:v>
                </c:pt>
                <c:pt idx="3">
                  <c:v>12024885</c:v>
                </c:pt>
                <c:pt idx="4">
                  <c:v>14675079</c:v>
                </c:pt>
                <c:pt idx="5">
                  <c:v>11404482</c:v>
                </c:pt>
                <c:pt idx="6">
                  <c:v>11016954</c:v>
                </c:pt>
                <c:pt idx="7">
                  <c:v>12832984</c:v>
                </c:pt>
                <c:pt idx="8">
                  <c:v>12563603</c:v>
                </c:pt>
                <c:pt idx="9">
                  <c:v>14299086</c:v>
                </c:pt>
                <c:pt idx="10">
                  <c:v>15210624</c:v>
                </c:pt>
                <c:pt idx="11">
                  <c:v>15963597</c:v>
                </c:pt>
                <c:pt idx="12">
                  <c:v>15045879</c:v>
                </c:pt>
                <c:pt idx="13">
                  <c:v>12577230</c:v>
                </c:pt>
                <c:pt idx="14">
                  <c:v>12694464</c:v>
                </c:pt>
                <c:pt idx="15">
                  <c:v>11927235</c:v>
                </c:pt>
                <c:pt idx="16">
                  <c:v>15111421</c:v>
                </c:pt>
                <c:pt idx="17">
                  <c:v>11152414</c:v>
                </c:pt>
                <c:pt idx="18">
                  <c:v>11997110</c:v>
                </c:pt>
                <c:pt idx="19">
                  <c:v>13785472</c:v>
                </c:pt>
                <c:pt idx="20">
                  <c:v>12935202</c:v>
                </c:pt>
                <c:pt idx="21">
                  <c:v>14471908</c:v>
                </c:pt>
                <c:pt idx="22">
                  <c:v>16086382</c:v>
                </c:pt>
                <c:pt idx="23">
                  <c:v>16062224</c:v>
                </c:pt>
                <c:pt idx="24">
                  <c:v>157572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4</c:v>
                </c:pt>
                <c:pt idx="1">
                  <c:v>3.16</c:v>
                </c:pt>
                <c:pt idx="2">
                  <c:v>2.91</c:v>
                </c:pt>
                <c:pt idx="3">
                  <c:v>2.85</c:v>
                </c:pt>
                <c:pt idx="4">
                  <c:v>2.74</c:v>
                </c:pt>
                <c:pt idx="5">
                  <c:v>3.01</c:v>
                </c:pt>
                <c:pt idx="6">
                  <c:v>3.09</c:v>
                </c:pt>
                <c:pt idx="7">
                  <c:v>3.11</c:v>
                </c:pt>
                <c:pt idx="8">
                  <c:v>3.13</c:v>
                </c:pt>
                <c:pt idx="9">
                  <c:v>3.15</c:v>
                </c:pt>
                <c:pt idx="10">
                  <c:v>3.11</c:v>
                </c:pt>
                <c:pt idx="11">
                  <c:v>3.12</c:v>
                </c:pt>
                <c:pt idx="12">
                  <c:v>3.11</c:v>
                </c:pt>
                <c:pt idx="13">
                  <c:v>3.08</c:v>
                </c:pt>
                <c:pt idx="14">
                  <c:v>2.87</c:v>
                </c:pt>
                <c:pt idx="15">
                  <c:v>2.8</c:v>
                </c:pt>
                <c:pt idx="16">
                  <c:v>2.73</c:v>
                </c:pt>
                <c:pt idx="17">
                  <c:v>2.98</c:v>
                </c:pt>
                <c:pt idx="18">
                  <c:v>3.12</c:v>
                </c:pt>
                <c:pt idx="19">
                  <c:v>3.1</c:v>
                </c:pt>
                <c:pt idx="20">
                  <c:v>3.04</c:v>
                </c:pt>
                <c:pt idx="21">
                  <c:v>3.07</c:v>
                </c:pt>
                <c:pt idx="22">
                  <c:v>3.09</c:v>
                </c:pt>
                <c:pt idx="23">
                  <c:v>3.16</c:v>
                </c:pt>
                <c:pt idx="24">
                  <c:v>3.0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14"/>
              <c:tx>
                <c:rich>
                  <a:bodyPr/>
                  <a:lstStyle/>
                  <a:p>
                    <a:r>
                      <a:t>Value Sales </a:t>
                    </a:r>
                  </a:p>
                  <a:p>
                    <a:r>
                      <a:t> 6</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Oct-21</c:v>
                </c:pt>
                <c:pt idx="1">
                  <c:v>Nov-21</c:v>
                </c:pt>
                <c:pt idx="2">
                  <c:v>Dec-21</c:v>
                </c:pt>
                <c:pt idx="3">
                  <c:v>Apr-22</c:v>
                </c:pt>
                <c:pt idx="4">
                  <c:v>May-22</c:v>
                </c:pt>
                <c:pt idx="5">
                  <c:v>Jun-22</c:v>
                </c:pt>
                <c:pt idx="6">
                  <c:v>Jul-22</c:v>
                </c:pt>
                <c:pt idx="7">
                  <c:v>Jan-23</c:v>
                </c:pt>
                <c:pt idx="8">
                  <c:v>May-23</c:v>
                </c:pt>
                <c:pt idx="9">
                  <c:v>Sep-23</c:v>
                </c:pt>
                <c:pt idx="10">
                  <c:v>Nov-23</c:v>
                </c:pt>
                <c:pt idx="11">
                  <c:v>Dec-23</c:v>
                </c:pt>
                <c:pt idx="12">
                  <c:v>Feb-24</c:v>
                </c:pt>
                <c:pt idx="13">
                  <c:v>Mar-24</c:v>
                </c:pt>
                <c:pt idx="14">
                  <c:v>Aug-24</c:v>
                </c:pt>
              </c:strCache>
            </c:strRef>
          </c:cat>
          <c:val>
            <c:numRef>
              <c:f>Sheet1!$B$2:$B$16</c:f>
              <c:numCache>
                <c:formatCode>General</c:formatCode>
                <c:ptCount val="15"/>
                <c:pt idx="0">
                  <c:v>146</c:v>
                </c:pt>
                <c:pt idx="1">
                  <c:v>2</c:v>
                </c:pt>
                <c:pt idx="2">
                  <c:v>6</c:v>
                </c:pt>
                <c:pt idx="3">
                  <c:v>12</c:v>
                </c:pt>
                <c:pt idx="4">
                  <c:v>1</c:v>
                </c:pt>
                <c:pt idx="5">
                  <c:v>3</c:v>
                </c:pt>
                <c:pt idx="6">
                  <c:v>10</c:v>
                </c:pt>
                <c:pt idx="7">
                  <c:v>10</c:v>
                </c:pt>
                <c:pt idx="8">
                  <c:v>2</c:v>
                </c:pt>
                <c:pt idx="9">
                  <c:v>6</c:v>
                </c:pt>
                <c:pt idx="10">
                  <c:v>2</c:v>
                </c:pt>
                <c:pt idx="11">
                  <c:v>2</c:v>
                </c:pt>
                <c:pt idx="12">
                  <c:v>6</c:v>
                </c:pt>
                <c:pt idx="13">
                  <c:v>8</c:v>
                </c:pt>
                <c:pt idx="14">
                  <c:v>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14"/>
              <c:tx>
                <c:rich>
                  <a:bodyPr/>
                  <a:lstStyle/>
                  <a:p>
                    <a:r>
                      <a:t>Av Price/KG </a:t>
                    </a:r>
                  </a:p>
                  <a:p>
                    <a:r>
                      <a:t> $ 2.00</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Oct-21</c:v>
                </c:pt>
                <c:pt idx="1">
                  <c:v>Nov-21</c:v>
                </c:pt>
                <c:pt idx="2">
                  <c:v>Dec-21</c:v>
                </c:pt>
                <c:pt idx="3">
                  <c:v>Apr-22</c:v>
                </c:pt>
                <c:pt idx="4">
                  <c:v>May-22</c:v>
                </c:pt>
                <c:pt idx="5">
                  <c:v>Jun-22</c:v>
                </c:pt>
                <c:pt idx="6">
                  <c:v>Jul-22</c:v>
                </c:pt>
                <c:pt idx="7">
                  <c:v>Jan-23</c:v>
                </c:pt>
                <c:pt idx="8">
                  <c:v>May-23</c:v>
                </c:pt>
                <c:pt idx="9">
                  <c:v>Sep-23</c:v>
                </c:pt>
                <c:pt idx="10">
                  <c:v>Nov-23</c:v>
                </c:pt>
                <c:pt idx="11">
                  <c:v>Dec-23</c:v>
                </c:pt>
                <c:pt idx="12">
                  <c:v>Feb-24</c:v>
                </c:pt>
                <c:pt idx="13">
                  <c:v>Mar-24</c:v>
                </c:pt>
                <c:pt idx="14">
                  <c:v>Aug-24</c:v>
                </c:pt>
              </c:strCache>
            </c:strRef>
          </c:cat>
          <c:val>
            <c:numRef>
              <c:f>Sheet1!$C$2:$C$16</c:f>
              <c:numCache>
                <c:formatCode>General</c:formatCode>
                <c:ptCount val="15"/>
                <c:pt idx="0">
                  <c:v>0.42</c:v>
                </c:pt>
                <c:pt idx="1">
                  <c:v>0.33</c:v>
                </c:pt>
                <c:pt idx="2">
                  <c:v>2.0</c:v>
                </c:pt>
                <c:pt idx="3">
                  <c:v>2.0</c:v>
                </c:pt>
                <c:pt idx="4">
                  <c:v>0.0</c:v>
                </c:pt>
                <c:pt idx="5">
                  <c:v>1.5</c:v>
                </c:pt>
                <c:pt idx="6">
                  <c:v>1.67</c:v>
                </c:pt>
                <c:pt idx="7">
                  <c:v>3.33</c:v>
                </c:pt>
                <c:pt idx="8">
                  <c:v>0.67</c:v>
                </c:pt>
                <c:pt idx="9">
                  <c:v>2.0</c:v>
                </c:pt>
                <c:pt idx="10">
                  <c:v>2.0</c:v>
                </c:pt>
                <c:pt idx="11">
                  <c:v>2.0</c:v>
                </c:pt>
                <c:pt idx="12">
                  <c:v>3.0</c:v>
                </c:pt>
                <c:pt idx="13">
                  <c:v>1.6</c:v>
                </c:pt>
                <c:pt idx="14">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3,6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9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3679</c:v>
                </c:pt>
                <c:pt idx="1">
                  <c:v>51364</c:v>
                </c:pt>
                <c:pt idx="2">
                  <c:v>339076</c:v>
                </c:pt>
                <c:pt idx="3">
                  <c:v>606958</c:v>
                </c:pt>
                <c:pt idx="4">
                  <c:v>561628</c:v>
                </c:pt>
                <c:pt idx="5">
                  <c:v>55702</c:v>
                </c:pt>
                <c:pt idx="6">
                  <c:v>31334</c:v>
                </c:pt>
                <c:pt idx="7">
                  <c:v>23093</c:v>
                </c:pt>
                <c:pt idx="8">
                  <c:v>19357</c:v>
                </c:pt>
                <c:pt idx="9">
                  <c:v>20301</c:v>
                </c:pt>
                <c:pt idx="10">
                  <c:v>20898</c:v>
                </c:pt>
                <c:pt idx="11">
                  <c:v>20418</c:v>
                </c:pt>
                <c:pt idx="12">
                  <c:v>21675</c:v>
                </c:pt>
                <c:pt idx="13">
                  <c:v>18911</c:v>
                </c:pt>
                <c:pt idx="14">
                  <c:v>227980</c:v>
                </c:pt>
                <c:pt idx="15">
                  <c:v>877016</c:v>
                </c:pt>
                <c:pt idx="16">
                  <c:v>3091070</c:v>
                </c:pt>
                <c:pt idx="17">
                  <c:v>100054</c:v>
                </c:pt>
                <c:pt idx="18">
                  <c:v>22991</c:v>
                </c:pt>
                <c:pt idx="19">
                  <c:v>22478</c:v>
                </c:pt>
                <c:pt idx="20">
                  <c:v>21594</c:v>
                </c:pt>
                <c:pt idx="21">
                  <c:v>22638</c:v>
                </c:pt>
                <c:pt idx="22">
                  <c:v>26983</c:v>
                </c:pt>
                <c:pt idx="23">
                  <c:v>21352</c:v>
                </c:pt>
                <c:pt idx="24">
                  <c:v>262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82</c:v>
                </c:pt>
                <c:pt idx="1">
                  <c:v>29.64</c:v>
                </c:pt>
                <c:pt idx="2">
                  <c:v>1.17</c:v>
                </c:pt>
                <c:pt idx="3">
                  <c:v>1.07</c:v>
                </c:pt>
                <c:pt idx="4">
                  <c:v>1.05</c:v>
                </c:pt>
                <c:pt idx="5">
                  <c:v>2.89</c:v>
                </c:pt>
                <c:pt idx="6">
                  <c:v>4.01</c:v>
                </c:pt>
                <c:pt idx="7">
                  <c:v>3.46</c:v>
                </c:pt>
                <c:pt idx="8">
                  <c:v>3.29</c:v>
                </c:pt>
                <c:pt idx="9">
                  <c:v>3.6</c:v>
                </c:pt>
                <c:pt idx="10">
                  <c:v>3.52</c:v>
                </c:pt>
                <c:pt idx="11">
                  <c:v>3.62</c:v>
                </c:pt>
                <c:pt idx="12">
                  <c:v>3.59</c:v>
                </c:pt>
                <c:pt idx="13">
                  <c:v>3.61</c:v>
                </c:pt>
                <c:pt idx="14">
                  <c:v>3.36</c:v>
                </c:pt>
                <c:pt idx="15">
                  <c:v>3.77</c:v>
                </c:pt>
                <c:pt idx="16">
                  <c:v>3.37</c:v>
                </c:pt>
                <c:pt idx="17">
                  <c:v>2.03</c:v>
                </c:pt>
                <c:pt idx="18">
                  <c:v>2.73</c:v>
                </c:pt>
                <c:pt idx="19">
                  <c:v>3.24</c:v>
                </c:pt>
                <c:pt idx="20">
                  <c:v>3.53</c:v>
                </c:pt>
                <c:pt idx="21">
                  <c:v>3.55</c:v>
                </c:pt>
                <c:pt idx="22">
                  <c:v>3.62</c:v>
                </c:pt>
                <c:pt idx="23">
                  <c:v>3.62</c:v>
                </c:pt>
                <c:pt idx="24">
                  <c:v>3.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7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180</c:v>
                </c:pt>
                <c:pt idx="1">
                  <c:v>4679</c:v>
                </c:pt>
                <c:pt idx="2">
                  <c:v>4865</c:v>
                </c:pt>
                <c:pt idx="3">
                  <c:v>6605</c:v>
                </c:pt>
                <c:pt idx="4">
                  <c:v>5157</c:v>
                </c:pt>
                <c:pt idx="5">
                  <c:v>6365</c:v>
                </c:pt>
                <c:pt idx="6">
                  <c:v>5624</c:v>
                </c:pt>
                <c:pt idx="7">
                  <c:v>6755</c:v>
                </c:pt>
                <c:pt idx="8">
                  <c:v>6824</c:v>
                </c:pt>
                <c:pt idx="9">
                  <c:v>7051</c:v>
                </c:pt>
                <c:pt idx="10">
                  <c:v>6763</c:v>
                </c:pt>
                <c:pt idx="11">
                  <c:v>4500</c:v>
                </c:pt>
                <c:pt idx="12">
                  <c:v>3803</c:v>
                </c:pt>
                <c:pt idx="13">
                  <c:v>2751</c:v>
                </c:pt>
                <c:pt idx="14">
                  <c:v>2393</c:v>
                </c:pt>
                <c:pt idx="15">
                  <c:v>1854</c:v>
                </c:pt>
                <c:pt idx="16">
                  <c:v>1871</c:v>
                </c:pt>
                <c:pt idx="17">
                  <c:v>2197</c:v>
                </c:pt>
                <c:pt idx="18">
                  <c:v>2018</c:v>
                </c:pt>
                <c:pt idx="19">
                  <c:v>2392</c:v>
                </c:pt>
                <c:pt idx="20">
                  <c:v>2558</c:v>
                </c:pt>
                <c:pt idx="21">
                  <c:v>2977</c:v>
                </c:pt>
                <c:pt idx="22">
                  <c:v>3014</c:v>
                </c:pt>
                <c:pt idx="23">
                  <c:v>3385</c:v>
                </c:pt>
                <c:pt idx="24">
                  <c:v>331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56</c:v>
                </c:pt>
                <c:pt idx="1">
                  <c:v>0.7</c:v>
                </c:pt>
                <c:pt idx="2">
                  <c:v>0.67</c:v>
                </c:pt>
                <c:pt idx="3">
                  <c:v>0.58</c:v>
                </c:pt>
                <c:pt idx="4">
                  <c:v>0.6</c:v>
                </c:pt>
                <c:pt idx="5">
                  <c:v>0.64</c:v>
                </c:pt>
                <c:pt idx="6">
                  <c:v>0.69</c:v>
                </c:pt>
                <c:pt idx="7">
                  <c:v>0.68</c:v>
                </c:pt>
                <c:pt idx="8">
                  <c:v>0.53</c:v>
                </c:pt>
                <c:pt idx="9">
                  <c:v>0.51</c:v>
                </c:pt>
                <c:pt idx="10">
                  <c:v>0.63</c:v>
                </c:pt>
                <c:pt idx="11">
                  <c:v>0.48</c:v>
                </c:pt>
                <c:pt idx="12">
                  <c:v>0.46</c:v>
                </c:pt>
                <c:pt idx="13">
                  <c:v>0.51</c:v>
                </c:pt>
                <c:pt idx="14">
                  <c:v>0.54</c:v>
                </c:pt>
                <c:pt idx="15">
                  <c:v>0.56</c:v>
                </c:pt>
                <c:pt idx="16">
                  <c:v>0.44</c:v>
                </c:pt>
                <c:pt idx="17">
                  <c:v>0.47</c:v>
                </c:pt>
                <c:pt idx="18">
                  <c:v>0.48</c:v>
                </c:pt>
                <c:pt idx="19">
                  <c:v>0.48</c:v>
                </c:pt>
                <c:pt idx="20">
                  <c:v>0.55</c:v>
                </c:pt>
                <c:pt idx="21">
                  <c:v>0.63</c:v>
                </c:pt>
                <c:pt idx="22">
                  <c:v>0.52</c:v>
                </c:pt>
                <c:pt idx="23">
                  <c:v>0.51</c:v>
                </c:pt>
                <c:pt idx="24">
                  <c:v>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2,6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2,1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83,9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2668</c:v>
                </c:pt>
                <c:pt idx="1">
                  <c:v>231203</c:v>
                </c:pt>
                <c:pt idx="2">
                  <c:v>343495</c:v>
                </c:pt>
                <c:pt idx="3">
                  <c:v>261601</c:v>
                </c:pt>
                <c:pt idx="4">
                  <c:v>242728</c:v>
                </c:pt>
                <c:pt idx="5">
                  <c:v>242375</c:v>
                </c:pt>
                <c:pt idx="6">
                  <c:v>244207</c:v>
                </c:pt>
                <c:pt idx="7">
                  <c:v>276869</c:v>
                </c:pt>
                <c:pt idx="8">
                  <c:v>256453</c:v>
                </c:pt>
                <c:pt idx="9">
                  <c:v>338622</c:v>
                </c:pt>
                <c:pt idx="10">
                  <c:v>332289</c:v>
                </c:pt>
                <c:pt idx="11">
                  <c:v>327229</c:v>
                </c:pt>
                <c:pt idx="12">
                  <c:v>326842</c:v>
                </c:pt>
                <c:pt idx="13">
                  <c:v>312164</c:v>
                </c:pt>
                <c:pt idx="14">
                  <c:v>329413</c:v>
                </c:pt>
                <c:pt idx="15">
                  <c:v>336121</c:v>
                </c:pt>
                <c:pt idx="16">
                  <c:v>329867</c:v>
                </c:pt>
                <c:pt idx="17">
                  <c:v>366793</c:v>
                </c:pt>
                <c:pt idx="18">
                  <c:v>403466</c:v>
                </c:pt>
                <c:pt idx="19">
                  <c:v>513816</c:v>
                </c:pt>
                <c:pt idx="20">
                  <c:v>539482</c:v>
                </c:pt>
                <c:pt idx="21">
                  <c:v>575314</c:v>
                </c:pt>
                <c:pt idx="22">
                  <c:v>585916</c:v>
                </c:pt>
                <c:pt idx="23">
                  <c:v>610005</c:v>
                </c:pt>
                <c:pt idx="24">
                  <c:v>5839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45</c:v>
                </c:pt>
                <c:pt idx="1">
                  <c:v>0.46</c:v>
                </c:pt>
                <c:pt idx="2">
                  <c:v>0.49</c:v>
                </c:pt>
                <c:pt idx="3">
                  <c:v>0.39</c:v>
                </c:pt>
                <c:pt idx="4">
                  <c:v>0.45</c:v>
                </c:pt>
                <c:pt idx="5">
                  <c:v>0.46</c:v>
                </c:pt>
                <c:pt idx="6">
                  <c:v>0.41</c:v>
                </c:pt>
                <c:pt idx="7">
                  <c:v>0.49</c:v>
                </c:pt>
                <c:pt idx="8">
                  <c:v>0.48</c:v>
                </c:pt>
                <c:pt idx="9">
                  <c:v>0.49</c:v>
                </c:pt>
                <c:pt idx="10">
                  <c:v>0.54</c:v>
                </c:pt>
                <c:pt idx="11">
                  <c:v>0.49</c:v>
                </c:pt>
                <c:pt idx="12">
                  <c:v>0.57</c:v>
                </c:pt>
                <c:pt idx="13">
                  <c:v>0.56</c:v>
                </c:pt>
                <c:pt idx="14">
                  <c:v>0.55</c:v>
                </c:pt>
                <c:pt idx="15">
                  <c:v>0.51</c:v>
                </c:pt>
                <c:pt idx="16">
                  <c:v>0.59</c:v>
                </c:pt>
                <c:pt idx="17">
                  <c:v>0.59</c:v>
                </c:pt>
                <c:pt idx="18">
                  <c:v>0.65</c:v>
                </c:pt>
                <c:pt idx="19">
                  <c:v>0.7</c:v>
                </c:pt>
                <c:pt idx="20">
                  <c:v>0.78</c:v>
                </c:pt>
                <c:pt idx="21">
                  <c:v>0.79</c:v>
                </c:pt>
                <c:pt idx="22">
                  <c:v>0.71</c:v>
                </c:pt>
                <c:pt idx="23">
                  <c:v>0.67</c:v>
                </c:pt>
                <c:pt idx="24">
                  <c:v>0.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57,0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26,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23,7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57072</c:v>
                </c:pt>
                <c:pt idx="1">
                  <c:v>1950663</c:v>
                </c:pt>
                <c:pt idx="2">
                  <c:v>1965134</c:v>
                </c:pt>
                <c:pt idx="3">
                  <c:v>1998894</c:v>
                </c:pt>
                <c:pt idx="4">
                  <c:v>2394563</c:v>
                </c:pt>
                <c:pt idx="5">
                  <c:v>2294714</c:v>
                </c:pt>
                <c:pt idx="6">
                  <c:v>2284277</c:v>
                </c:pt>
                <c:pt idx="7">
                  <c:v>2214286</c:v>
                </c:pt>
                <c:pt idx="8">
                  <c:v>2267676</c:v>
                </c:pt>
                <c:pt idx="9">
                  <c:v>2396837</c:v>
                </c:pt>
                <c:pt idx="10">
                  <c:v>2343376</c:v>
                </c:pt>
                <c:pt idx="11">
                  <c:v>2862489</c:v>
                </c:pt>
                <c:pt idx="12">
                  <c:v>2255880</c:v>
                </c:pt>
                <c:pt idx="13">
                  <c:v>2026369</c:v>
                </c:pt>
                <c:pt idx="14">
                  <c:v>2081934</c:v>
                </c:pt>
                <c:pt idx="15">
                  <c:v>2061510</c:v>
                </c:pt>
                <c:pt idx="16">
                  <c:v>1994891</c:v>
                </c:pt>
                <c:pt idx="17">
                  <c:v>2002752</c:v>
                </c:pt>
                <c:pt idx="18">
                  <c:v>2041043</c:v>
                </c:pt>
                <c:pt idx="19">
                  <c:v>2317722</c:v>
                </c:pt>
                <c:pt idx="20">
                  <c:v>2503169</c:v>
                </c:pt>
                <c:pt idx="21">
                  <c:v>2605749</c:v>
                </c:pt>
                <c:pt idx="22">
                  <c:v>2824927</c:v>
                </c:pt>
                <c:pt idx="23">
                  <c:v>3358013</c:v>
                </c:pt>
                <c:pt idx="24">
                  <c:v>28237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1</c:v>
                </c:pt>
                <c:pt idx="1">
                  <c:v>2.07</c:v>
                </c:pt>
                <c:pt idx="2">
                  <c:v>2.13</c:v>
                </c:pt>
                <c:pt idx="3">
                  <c:v>2.17</c:v>
                </c:pt>
                <c:pt idx="4">
                  <c:v>2.31</c:v>
                </c:pt>
                <c:pt idx="5">
                  <c:v>2.39</c:v>
                </c:pt>
                <c:pt idx="6">
                  <c:v>1.92</c:v>
                </c:pt>
                <c:pt idx="7">
                  <c:v>2.37</c:v>
                </c:pt>
                <c:pt idx="8">
                  <c:v>2.46</c:v>
                </c:pt>
                <c:pt idx="9">
                  <c:v>2.25</c:v>
                </c:pt>
                <c:pt idx="10">
                  <c:v>2.37</c:v>
                </c:pt>
                <c:pt idx="11">
                  <c:v>2.03</c:v>
                </c:pt>
                <c:pt idx="12">
                  <c:v>2.39</c:v>
                </c:pt>
                <c:pt idx="13">
                  <c:v>2.42</c:v>
                </c:pt>
                <c:pt idx="14">
                  <c:v>2.31</c:v>
                </c:pt>
                <c:pt idx="15">
                  <c:v>2.28</c:v>
                </c:pt>
                <c:pt idx="16">
                  <c:v>2.28</c:v>
                </c:pt>
                <c:pt idx="17">
                  <c:v>2.38</c:v>
                </c:pt>
                <c:pt idx="18">
                  <c:v>2.35</c:v>
                </c:pt>
                <c:pt idx="19">
                  <c:v>2.18</c:v>
                </c:pt>
                <c:pt idx="20">
                  <c:v>2.43</c:v>
                </c:pt>
                <c:pt idx="21">
                  <c:v>2.46</c:v>
                </c:pt>
                <c:pt idx="22">
                  <c:v>2.44</c:v>
                </c:pt>
                <c:pt idx="23">
                  <c:v>2.09</c:v>
                </c:pt>
                <c:pt idx="24">
                  <c:v>2.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75,7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93,8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89,8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75740</c:v>
                </c:pt>
                <c:pt idx="1">
                  <c:v>564486</c:v>
                </c:pt>
                <c:pt idx="2">
                  <c:v>550441</c:v>
                </c:pt>
                <c:pt idx="3">
                  <c:v>525651</c:v>
                </c:pt>
                <c:pt idx="4">
                  <c:v>559349</c:v>
                </c:pt>
                <c:pt idx="5">
                  <c:v>586411</c:v>
                </c:pt>
                <c:pt idx="6">
                  <c:v>517606</c:v>
                </c:pt>
                <c:pt idx="7">
                  <c:v>560876</c:v>
                </c:pt>
                <c:pt idx="8">
                  <c:v>572472</c:v>
                </c:pt>
                <c:pt idx="9">
                  <c:v>622115</c:v>
                </c:pt>
                <c:pt idx="10">
                  <c:v>698769</c:v>
                </c:pt>
                <c:pt idx="11">
                  <c:v>643837</c:v>
                </c:pt>
                <c:pt idx="12">
                  <c:v>559699</c:v>
                </c:pt>
                <c:pt idx="13">
                  <c:v>493810</c:v>
                </c:pt>
                <c:pt idx="14">
                  <c:v>498890</c:v>
                </c:pt>
                <c:pt idx="15">
                  <c:v>433583</c:v>
                </c:pt>
                <c:pt idx="16">
                  <c:v>494573</c:v>
                </c:pt>
                <c:pt idx="17">
                  <c:v>428971</c:v>
                </c:pt>
                <c:pt idx="18">
                  <c:v>453895</c:v>
                </c:pt>
                <c:pt idx="19">
                  <c:v>554012</c:v>
                </c:pt>
                <c:pt idx="20">
                  <c:v>572179</c:v>
                </c:pt>
                <c:pt idx="21">
                  <c:v>581044</c:v>
                </c:pt>
                <c:pt idx="22">
                  <c:v>563502</c:v>
                </c:pt>
                <c:pt idx="23">
                  <c:v>855745</c:v>
                </c:pt>
                <c:pt idx="24">
                  <c:v>6898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74</c:v>
                </c:pt>
                <c:pt idx="1">
                  <c:v>3.0</c:v>
                </c:pt>
                <c:pt idx="2">
                  <c:v>2.94</c:v>
                </c:pt>
                <c:pt idx="3">
                  <c:v>2.9</c:v>
                </c:pt>
                <c:pt idx="4">
                  <c:v>3.11</c:v>
                </c:pt>
                <c:pt idx="5">
                  <c:v>3.05</c:v>
                </c:pt>
                <c:pt idx="6">
                  <c:v>2.94</c:v>
                </c:pt>
                <c:pt idx="7">
                  <c:v>3.11</c:v>
                </c:pt>
                <c:pt idx="8">
                  <c:v>3.24</c:v>
                </c:pt>
                <c:pt idx="9">
                  <c:v>3.0</c:v>
                </c:pt>
                <c:pt idx="10">
                  <c:v>2.69</c:v>
                </c:pt>
                <c:pt idx="11">
                  <c:v>2.71</c:v>
                </c:pt>
                <c:pt idx="12">
                  <c:v>2.65</c:v>
                </c:pt>
                <c:pt idx="13">
                  <c:v>2.6</c:v>
                </c:pt>
                <c:pt idx="14">
                  <c:v>2.45</c:v>
                </c:pt>
                <c:pt idx="15">
                  <c:v>2.57</c:v>
                </c:pt>
                <c:pt idx="16">
                  <c:v>2.48</c:v>
                </c:pt>
                <c:pt idx="17">
                  <c:v>2.39</c:v>
                </c:pt>
                <c:pt idx="18">
                  <c:v>2.6</c:v>
                </c:pt>
                <c:pt idx="19">
                  <c:v>2.37</c:v>
                </c:pt>
                <c:pt idx="20">
                  <c:v>2.55</c:v>
                </c:pt>
                <c:pt idx="21">
                  <c:v>2.41</c:v>
                </c:pt>
                <c:pt idx="22">
                  <c:v>2.51</c:v>
                </c:pt>
                <c:pt idx="23">
                  <c:v>2.61</c:v>
                </c:pt>
                <c:pt idx="24">
                  <c:v>2.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6.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8.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8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8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6/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4.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9.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0.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1.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3.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6.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0.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1.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2.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5.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7.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2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1.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2.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3.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5.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8.xml"/></Relationships>
</file>

<file path=ppt/notesSlides/_rels/notesSlide2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2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2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2.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3.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2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6.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9.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2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2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3.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5.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6.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8.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0.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2.xml"/></Relationships>
</file>

<file path=ppt/notesSlides/_rels/notesSlide2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3.xml"/></Relationships>
</file>

<file path=ppt/notesSlides/_rels/notesSlide2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5.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6.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7.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9.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1.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3.xml"/></Relationships>
</file>

<file path=ppt/notesSlides/_rels/notesSlide2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4.xml"/></Relationships>
</file>

<file path=ppt/notesSlides/_rels/notesSlide2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5.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6.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7.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8.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0.xml"/></Relationships>
</file>

<file path=ppt/notesSlides/_rels/notesSlide2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1.xml"/></Relationships>
</file>

<file path=ppt/notesSlides/_rels/notesSlide2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2.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5.xml"/></Relationships>
</file>

<file path=ppt/notesSlides/_rels/notesSlide2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6.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7.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8.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9.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1.xml"/></Relationships>
</file>

<file path=ppt/notesSlides/_rels/notesSlide2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2.xml"/></Relationships>
</file>

<file path=ppt/notesSlides/_rels/notesSlide2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3.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4.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5.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6.xml"/></Relationships>
</file>

<file path=ppt/notesSlides/_rels/notesSlide2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7.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8.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0.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2.xml"/></Relationships>
</file>

<file path=ppt/notesSlides/_rels/notesSlide2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3.xml"/></Relationships>
</file>

<file path=ppt/notesSlides/_rels/notesSlide2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4.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5.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7.xml"/></Relationships>
</file>

<file path=ppt/notesSlides/_rels/notesSlide2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8.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9.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0.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1.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2.xml"/></Relationships>
</file>

<file path=ppt/notesSlides/_rels/notesSlide2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4.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6.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8.xml"/></Relationships>
</file>

<file path=ppt/notesSlides/_rels/notesSlide2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9.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0.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1.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2.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5.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7.xml"/></Relationships>
</file>

<file path=ppt/notesSlides/_rels/notesSlide3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9.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0.xml"/></Relationships>
</file>

<file path=ppt/notesSlides/_rels/notesSlide3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1.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2.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3.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4.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3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6.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7.xml"/></Relationships>
</file>

<file path=ppt/notesSlides/_rels/notesSlide3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8.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0.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1.xml"/></Relationships>
</file>

<file path=ppt/notesSlides/_rels/notesSlide3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2.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3.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5.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7.xml"/></Relationships>
</file>

<file path=ppt/notesSlides/_rels/notesSlide3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8.xml"/></Relationships>
</file>

<file path=ppt/notesSlides/_rels/notesSlide3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9.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0.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1.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2.xml"/></Relationships>
</file>

<file path=ppt/notesSlides/_rels/notesSlide3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3.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6.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8.xml"/></Relationships>
</file>

<file path=ppt/notesSlides/_rels/notesSlide3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9.xml"/></Relationships>
</file>

<file path=ppt/notesSlides/_rels/notesSlide3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0.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1.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2.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3.xml"/></Relationships>
</file>

<file path=ppt/notesSlides/_rels/notesSlide3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5.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7.xml"/></Relationships>
</file>

<file path=ppt/notesSlides/_rels/notesSlide3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9.xml"/></Relationships>
</file>

<file path=ppt/notesSlides/_rels/notesSlide3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0.xml"/></Relationships>
</file>

<file path=ppt/notesSlides/_rels/notesSlide3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1.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2.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3.xml"/></Relationships>
</file>

<file path=ppt/notesSlides/_rels/notesSlide3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3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5.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6/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6/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6/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6/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6/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6/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6/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6/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6/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6/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6/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6/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0.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216.xml"/><Relationship Id="rId4" Type="http://schemas.openxmlformats.org/officeDocument/2006/relationships/chart" Target="../charts/chart217.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218.xml"/><Relationship Id="rId4" Type="http://schemas.openxmlformats.org/officeDocument/2006/relationships/chart" Target="../charts/chart21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220.xml"/><Relationship Id="rId4" Type="http://schemas.openxmlformats.org/officeDocument/2006/relationships/chart" Target="../charts/chart221.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222.xml"/><Relationship Id="rId4" Type="http://schemas.openxmlformats.org/officeDocument/2006/relationships/chart" Target="../charts/chart2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226.xml"/><Relationship Id="rId4" Type="http://schemas.openxmlformats.org/officeDocument/2006/relationships/chart" Target="../charts/chart227.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230.xml"/><Relationship Id="rId4" Type="http://schemas.openxmlformats.org/officeDocument/2006/relationships/chart" Target="../charts/chart231.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232.xml"/><Relationship Id="rId4" Type="http://schemas.openxmlformats.org/officeDocument/2006/relationships/chart" Target="../charts/chart233.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234.xml"/><Relationship Id="rId4" Type="http://schemas.openxmlformats.org/officeDocument/2006/relationships/chart" Target="../charts/chart23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236.xml"/><Relationship Id="rId4" Type="http://schemas.openxmlformats.org/officeDocument/2006/relationships/chart" Target="../charts/chart237.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238.xml"/><Relationship Id="rId4" Type="http://schemas.openxmlformats.org/officeDocument/2006/relationships/chart" Target="../charts/chart239.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240.xml"/><Relationship Id="rId4" Type="http://schemas.openxmlformats.org/officeDocument/2006/relationships/chart" Target="../charts/chart241.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242.xml"/><Relationship Id="rId4" Type="http://schemas.openxmlformats.org/officeDocument/2006/relationships/chart" Target="../charts/chart24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244.xml"/><Relationship Id="rId4" Type="http://schemas.openxmlformats.org/officeDocument/2006/relationships/chart" Target="../charts/chart245.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248.xml"/><Relationship Id="rId4" Type="http://schemas.openxmlformats.org/officeDocument/2006/relationships/chart" Target="../charts/chart249.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252.xml"/><Relationship Id="rId4" Type="http://schemas.openxmlformats.org/officeDocument/2006/relationships/chart" Target="../charts/chart253.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254.xml"/><Relationship Id="rId4" Type="http://schemas.openxmlformats.org/officeDocument/2006/relationships/chart" Target="../charts/chart255.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256.xml"/><Relationship Id="rId4" Type="http://schemas.openxmlformats.org/officeDocument/2006/relationships/chart" Target="../charts/chart257.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258.xml"/><Relationship Id="rId4" Type="http://schemas.openxmlformats.org/officeDocument/2006/relationships/chart" Target="../charts/chart259.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260.xml"/><Relationship Id="rId4" Type="http://schemas.openxmlformats.org/officeDocument/2006/relationships/chart" Target="../charts/chart261.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262.xml"/><Relationship Id="rId4" Type="http://schemas.openxmlformats.org/officeDocument/2006/relationships/chart" Target="../charts/chart26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266.xml"/><Relationship Id="rId4" Type="http://schemas.openxmlformats.org/officeDocument/2006/relationships/chart" Target="../charts/chart267.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270.xml"/><Relationship Id="rId4" Type="http://schemas.openxmlformats.org/officeDocument/2006/relationships/chart" Target="../charts/chart271.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274.xml"/><Relationship Id="rId4" Type="http://schemas.openxmlformats.org/officeDocument/2006/relationships/chart" Target="../charts/chart275.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276.xml"/><Relationship Id="rId4" Type="http://schemas.openxmlformats.org/officeDocument/2006/relationships/chart" Target="../charts/chart277.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278.xml"/><Relationship Id="rId4" Type="http://schemas.openxmlformats.org/officeDocument/2006/relationships/chart" Target="../charts/chart279.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280.xml"/><Relationship Id="rId4" Type="http://schemas.openxmlformats.org/officeDocument/2006/relationships/chart" Target="../charts/chart281.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282.xml"/><Relationship Id="rId4" Type="http://schemas.openxmlformats.org/officeDocument/2006/relationships/chart" Target="../charts/chart28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284.xml"/><Relationship Id="rId4" Type="http://schemas.openxmlformats.org/officeDocument/2006/relationships/chart" Target="../charts/chart285.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288.xml"/><Relationship Id="rId4" Type="http://schemas.openxmlformats.org/officeDocument/2006/relationships/chart" Target="../charts/chart289.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292.xml"/><Relationship Id="rId4" Type="http://schemas.openxmlformats.org/officeDocument/2006/relationships/chart" Target="../charts/chart293.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296.xml"/><Relationship Id="rId4" Type="http://schemas.openxmlformats.org/officeDocument/2006/relationships/chart" Target="../charts/chart297.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298.xml"/><Relationship Id="rId4" Type="http://schemas.openxmlformats.org/officeDocument/2006/relationships/chart" Target="../charts/chart29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300.xml"/><Relationship Id="rId4" Type="http://schemas.openxmlformats.org/officeDocument/2006/relationships/chart" Target="../charts/chart301.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chart" Target="../charts/chart302.xml"/><Relationship Id="rId4" Type="http://schemas.openxmlformats.org/officeDocument/2006/relationships/chart" Target="../charts/chart303.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xml"/><Relationship Id="rId3" Type="http://schemas.openxmlformats.org/officeDocument/2006/relationships/chart" Target="../charts/chart304.xml"/><Relationship Id="rId4" Type="http://schemas.openxmlformats.org/officeDocument/2006/relationships/chart" Target="../charts/chart305.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chart" Target="../charts/chart306.xml"/><Relationship Id="rId4" Type="http://schemas.openxmlformats.org/officeDocument/2006/relationships/chart" Target="../charts/chart307.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xml"/><Relationship Id="rId3" Type="http://schemas.openxmlformats.org/officeDocument/2006/relationships/chart" Target="../charts/chart310.xml"/><Relationship Id="rId4" Type="http://schemas.openxmlformats.org/officeDocument/2006/relationships/chart" Target="../charts/chart311.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312.xml"/><Relationship Id="rId4" Type="http://schemas.openxmlformats.org/officeDocument/2006/relationships/chart" Target="../charts/chart313.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chart" Target="../charts/chart314.xml"/><Relationship Id="rId4" Type="http://schemas.openxmlformats.org/officeDocument/2006/relationships/chart" Target="../charts/chart315.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xml"/><Relationship Id="rId3" Type="http://schemas.openxmlformats.org/officeDocument/2006/relationships/chart" Target="../charts/chart316.xml"/><Relationship Id="rId4" Type="http://schemas.openxmlformats.org/officeDocument/2006/relationships/chart" Target="../charts/chart317.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xml"/><Relationship Id="rId3" Type="http://schemas.openxmlformats.org/officeDocument/2006/relationships/chart" Target="../charts/chart318.xml"/><Relationship Id="rId4" Type="http://schemas.openxmlformats.org/officeDocument/2006/relationships/chart" Target="../charts/chart319.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xml"/><Relationship Id="rId3" Type="http://schemas.openxmlformats.org/officeDocument/2006/relationships/chart" Target="../charts/chart320.xml"/><Relationship Id="rId4" Type="http://schemas.openxmlformats.org/officeDocument/2006/relationships/chart" Target="../charts/chart321.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xml"/><Relationship Id="rId3" Type="http://schemas.openxmlformats.org/officeDocument/2006/relationships/chart" Target="../charts/chart322.xml"/><Relationship Id="rId4" Type="http://schemas.openxmlformats.org/officeDocument/2006/relationships/chart" Target="../charts/chart3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xml"/><Relationship Id="rId3" Type="http://schemas.openxmlformats.org/officeDocument/2006/relationships/chart" Target="../charts/chart324.xml"/><Relationship Id="rId4" Type="http://schemas.openxmlformats.org/officeDocument/2006/relationships/chart" Target="../charts/chart325.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326.xml"/><Relationship Id="rId4" Type="http://schemas.openxmlformats.org/officeDocument/2006/relationships/chart" Target="../charts/chart327.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xml"/><Relationship Id="rId3" Type="http://schemas.openxmlformats.org/officeDocument/2006/relationships/chart" Target="../charts/chart328.xml"/><Relationship Id="rId4" Type="http://schemas.openxmlformats.org/officeDocument/2006/relationships/chart" Target="../charts/chart329.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xml"/><Relationship Id="rId3" Type="http://schemas.openxmlformats.org/officeDocument/2006/relationships/chart" Target="../charts/chart332.xml"/><Relationship Id="rId4" Type="http://schemas.openxmlformats.org/officeDocument/2006/relationships/chart" Target="../charts/chart333.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xml"/><Relationship Id="rId3" Type="http://schemas.openxmlformats.org/officeDocument/2006/relationships/chart" Target="../charts/chart334.xml"/><Relationship Id="rId4" Type="http://schemas.openxmlformats.org/officeDocument/2006/relationships/chart" Target="../charts/chart335.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336.xml"/><Relationship Id="rId4" Type="http://schemas.openxmlformats.org/officeDocument/2006/relationships/chart" Target="../charts/chart337.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338.xml"/><Relationship Id="rId4" Type="http://schemas.openxmlformats.org/officeDocument/2006/relationships/chart" Target="../charts/chart339.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xml"/><Relationship Id="rId3" Type="http://schemas.openxmlformats.org/officeDocument/2006/relationships/chart" Target="../charts/chart340.xml"/><Relationship Id="rId4" Type="http://schemas.openxmlformats.org/officeDocument/2006/relationships/chart" Target="../charts/chart341.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xml"/><Relationship Id="rId3" Type="http://schemas.openxmlformats.org/officeDocument/2006/relationships/chart" Target="../charts/chart342.xml"/><Relationship Id="rId4" Type="http://schemas.openxmlformats.org/officeDocument/2006/relationships/chart" Target="../charts/chart34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xml"/><Relationship Id="rId3" Type="http://schemas.openxmlformats.org/officeDocument/2006/relationships/chart" Target="../charts/chart344.xml"/><Relationship Id="rId4" Type="http://schemas.openxmlformats.org/officeDocument/2006/relationships/chart" Target="../charts/chart345.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xml"/><Relationship Id="rId3" Type="http://schemas.openxmlformats.org/officeDocument/2006/relationships/chart" Target="../charts/chart346.xml"/><Relationship Id="rId4" Type="http://schemas.openxmlformats.org/officeDocument/2006/relationships/chart" Target="../charts/chart347.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xml"/><Relationship Id="rId3" Type="http://schemas.openxmlformats.org/officeDocument/2006/relationships/chart" Target="../charts/chart350.xml"/><Relationship Id="rId4" Type="http://schemas.openxmlformats.org/officeDocument/2006/relationships/chart" Target="../charts/chart351.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xml"/><Relationship Id="rId3" Type="http://schemas.openxmlformats.org/officeDocument/2006/relationships/chart" Target="../charts/chart354.xml"/><Relationship Id="rId4" Type="http://schemas.openxmlformats.org/officeDocument/2006/relationships/chart" Target="../charts/chart355.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358.xml"/><Relationship Id="rId4" Type="http://schemas.openxmlformats.org/officeDocument/2006/relationships/chart" Target="../charts/chart359.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xml"/><Relationship Id="rId3" Type="http://schemas.openxmlformats.org/officeDocument/2006/relationships/chart" Target="../charts/chart360.xml"/><Relationship Id="rId4" Type="http://schemas.openxmlformats.org/officeDocument/2006/relationships/chart" Target="../charts/chart361.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xml"/><Relationship Id="rId3" Type="http://schemas.openxmlformats.org/officeDocument/2006/relationships/chart" Target="../charts/chart362.xml"/><Relationship Id="rId4" Type="http://schemas.openxmlformats.org/officeDocument/2006/relationships/chart" Target="../charts/chart36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xml"/><Relationship Id="rId3" Type="http://schemas.openxmlformats.org/officeDocument/2006/relationships/chart" Target="../charts/chart364.xml"/><Relationship Id="rId4" Type="http://schemas.openxmlformats.org/officeDocument/2006/relationships/chart" Target="../charts/chart365.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xml"/><Relationship Id="rId3" Type="http://schemas.openxmlformats.org/officeDocument/2006/relationships/chart" Target="../charts/chart366.xml"/><Relationship Id="rId4" Type="http://schemas.openxmlformats.org/officeDocument/2006/relationships/chart" Target="../charts/chart367.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xml"/><Relationship Id="rId3" Type="http://schemas.openxmlformats.org/officeDocument/2006/relationships/chart" Target="../charts/chart368.xml"/><Relationship Id="rId4" Type="http://schemas.openxmlformats.org/officeDocument/2006/relationships/chart" Target="../charts/chart369.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xml"/><Relationship Id="rId3" Type="http://schemas.openxmlformats.org/officeDocument/2006/relationships/chart" Target="../charts/chart372.xml"/><Relationship Id="rId4" Type="http://schemas.openxmlformats.org/officeDocument/2006/relationships/chart" Target="../charts/chart373.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xml"/><Relationship Id="rId3" Type="http://schemas.openxmlformats.org/officeDocument/2006/relationships/chart" Target="../charts/chart376.xml"/><Relationship Id="rId4" Type="http://schemas.openxmlformats.org/officeDocument/2006/relationships/chart" Target="../charts/chart377.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xml"/><Relationship Id="rId3" Type="http://schemas.openxmlformats.org/officeDocument/2006/relationships/chart" Target="../charts/chart378.xml"/><Relationship Id="rId4" Type="http://schemas.openxmlformats.org/officeDocument/2006/relationships/chart" Target="../charts/chart379.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xml"/><Relationship Id="rId3" Type="http://schemas.openxmlformats.org/officeDocument/2006/relationships/chart" Target="../charts/chart382.xml"/><Relationship Id="rId4" Type="http://schemas.openxmlformats.org/officeDocument/2006/relationships/chart" Target="../charts/chart38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xml"/><Relationship Id="rId3" Type="http://schemas.openxmlformats.org/officeDocument/2006/relationships/chart" Target="../charts/chart386.xml"/><Relationship Id="rId4" Type="http://schemas.openxmlformats.org/officeDocument/2006/relationships/chart" Target="../charts/chart38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xml"/><Relationship Id="rId3" Type="http://schemas.openxmlformats.org/officeDocument/2006/relationships/chart" Target="../charts/chart388.xml"/><Relationship Id="rId4" Type="http://schemas.openxmlformats.org/officeDocument/2006/relationships/chart" Target="../charts/chart389.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xml"/><Relationship Id="rId3" Type="http://schemas.openxmlformats.org/officeDocument/2006/relationships/chart" Target="../charts/chart390.xml"/><Relationship Id="rId4" Type="http://schemas.openxmlformats.org/officeDocument/2006/relationships/chart" Target="../charts/chart391.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xml"/><Relationship Id="rId3" Type="http://schemas.openxmlformats.org/officeDocument/2006/relationships/chart" Target="../charts/chart392.xml"/><Relationship Id="rId4" Type="http://schemas.openxmlformats.org/officeDocument/2006/relationships/chart" Target="../charts/chart393.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xml"/><Relationship Id="rId3" Type="http://schemas.openxmlformats.org/officeDocument/2006/relationships/chart" Target="../charts/chart394.xml"/><Relationship Id="rId4" Type="http://schemas.openxmlformats.org/officeDocument/2006/relationships/chart" Target="../charts/chart395.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xml"/><Relationship Id="rId3" Type="http://schemas.openxmlformats.org/officeDocument/2006/relationships/chart" Target="../charts/chart396.xml"/><Relationship Id="rId4" Type="http://schemas.openxmlformats.org/officeDocument/2006/relationships/chart" Target="../charts/chart39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xml"/><Relationship Id="rId3" Type="http://schemas.openxmlformats.org/officeDocument/2006/relationships/chart" Target="../charts/chart400.xml"/><Relationship Id="rId4" Type="http://schemas.openxmlformats.org/officeDocument/2006/relationships/chart" Target="../charts/chart40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xml"/><Relationship Id="rId3" Type="http://schemas.openxmlformats.org/officeDocument/2006/relationships/chart" Target="../charts/chart404.xml"/><Relationship Id="rId4" Type="http://schemas.openxmlformats.org/officeDocument/2006/relationships/chart" Target="../charts/chart405.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xml"/><Relationship Id="rId3" Type="http://schemas.openxmlformats.org/officeDocument/2006/relationships/chart" Target="../charts/chart408.xml"/><Relationship Id="rId4" Type="http://schemas.openxmlformats.org/officeDocument/2006/relationships/chart" Target="../charts/chart409.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xml"/><Relationship Id="rId3" Type="http://schemas.openxmlformats.org/officeDocument/2006/relationships/chart" Target="../charts/chart410.xml"/><Relationship Id="rId4" Type="http://schemas.openxmlformats.org/officeDocument/2006/relationships/chart" Target="../charts/chart411.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xml"/><Relationship Id="rId3" Type="http://schemas.openxmlformats.org/officeDocument/2006/relationships/chart" Target="../charts/chart412.xml"/><Relationship Id="rId4" Type="http://schemas.openxmlformats.org/officeDocument/2006/relationships/chart" Target="../charts/chart413.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xml"/><Relationship Id="rId3" Type="http://schemas.openxmlformats.org/officeDocument/2006/relationships/chart" Target="../charts/chart414.xml"/><Relationship Id="rId4" Type="http://schemas.openxmlformats.org/officeDocument/2006/relationships/chart" Target="../charts/chart415.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416.xml"/><Relationship Id="rId4" Type="http://schemas.openxmlformats.org/officeDocument/2006/relationships/chart" Target="../charts/chart41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xml"/><Relationship Id="rId3" Type="http://schemas.openxmlformats.org/officeDocument/2006/relationships/chart" Target="../charts/chart418.xml"/><Relationship Id="rId4" Type="http://schemas.openxmlformats.org/officeDocument/2006/relationships/chart" Target="../charts/chart419.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4.xml"/><Relationship Id="rId3" Type="http://schemas.openxmlformats.org/officeDocument/2006/relationships/chart" Target="../charts/chart422.xml"/><Relationship Id="rId4" Type="http://schemas.openxmlformats.org/officeDocument/2006/relationships/chart" Target="../charts/chart4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5.xml"/><Relationship Id="rId3" Type="http://schemas.openxmlformats.org/officeDocument/2006/relationships/chart" Target="../charts/chart424.xml"/><Relationship Id="rId4" Type="http://schemas.openxmlformats.org/officeDocument/2006/relationships/chart" Target="../charts/chart425.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6.xml"/><Relationship Id="rId3" Type="http://schemas.openxmlformats.org/officeDocument/2006/relationships/chart" Target="../charts/chart426.xml"/><Relationship Id="rId4" Type="http://schemas.openxmlformats.org/officeDocument/2006/relationships/chart" Target="../charts/chart42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8.xml"/><Relationship Id="rId3" Type="http://schemas.openxmlformats.org/officeDocument/2006/relationships/chart" Target="../charts/chart430.xml"/><Relationship Id="rId4" Type="http://schemas.openxmlformats.org/officeDocument/2006/relationships/chart" Target="../charts/chart431.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9.xml"/><Relationship Id="rId3" Type="http://schemas.openxmlformats.org/officeDocument/2006/relationships/chart" Target="../charts/chart432.xml"/><Relationship Id="rId4" Type="http://schemas.openxmlformats.org/officeDocument/2006/relationships/chart" Target="../charts/chart433.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0.xml"/><Relationship Id="rId3" Type="http://schemas.openxmlformats.org/officeDocument/2006/relationships/chart" Target="../charts/chart434.xml"/><Relationship Id="rId4" Type="http://schemas.openxmlformats.org/officeDocument/2006/relationships/chart" Target="../charts/chart435.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1.xml"/><Relationship Id="rId3" Type="http://schemas.openxmlformats.org/officeDocument/2006/relationships/chart" Target="../charts/chart436.xml"/><Relationship Id="rId4" Type="http://schemas.openxmlformats.org/officeDocument/2006/relationships/chart" Target="../charts/chart437.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2.xml"/><Relationship Id="rId3" Type="http://schemas.openxmlformats.org/officeDocument/2006/relationships/chart" Target="../charts/chart438.xml"/><Relationship Id="rId4" Type="http://schemas.openxmlformats.org/officeDocument/2006/relationships/chart" Target="../charts/chart439.xml"/></Relationships>
</file>

<file path=ppt/slides/_rels/slide3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3.xml"/><Relationship Id="rId3" Type="http://schemas.openxmlformats.org/officeDocument/2006/relationships/chart" Target="../charts/chart440.xml"/><Relationship Id="rId4" Type="http://schemas.openxmlformats.org/officeDocument/2006/relationships/chart" Target="../charts/chart44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5.xml"/><Relationship Id="rId3" Type="http://schemas.openxmlformats.org/officeDocument/2006/relationships/chart" Target="../charts/chart444.xml"/><Relationship Id="rId4" Type="http://schemas.openxmlformats.org/officeDocument/2006/relationships/chart" Target="../charts/chart445.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6.xml"/><Relationship Id="rId3" Type="http://schemas.openxmlformats.org/officeDocument/2006/relationships/chart" Target="../charts/chart446.xml"/><Relationship Id="rId4" Type="http://schemas.openxmlformats.org/officeDocument/2006/relationships/chart" Target="../charts/chart447.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7.xml"/><Relationship Id="rId3" Type="http://schemas.openxmlformats.org/officeDocument/2006/relationships/chart" Target="../charts/chart448.xml"/><Relationship Id="rId4" Type="http://schemas.openxmlformats.org/officeDocument/2006/relationships/chart" Target="../charts/chart449.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8.xml"/><Relationship Id="rId3" Type="http://schemas.openxmlformats.org/officeDocument/2006/relationships/chart" Target="../charts/chart450.xml"/><Relationship Id="rId4" Type="http://schemas.openxmlformats.org/officeDocument/2006/relationships/chart" Target="../charts/chart451.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9.xml"/><Relationship Id="rId3" Type="http://schemas.openxmlformats.org/officeDocument/2006/relationships/chart" Target="../charts/chart452.xml"/><Relationship Id="rId4" Type="http://schemas.openxmlformats.org/officeDocument/2006/relationships/chart" Target="../charts/chart453.xml"/></Relationships>
</file>

<file path=ppt/slides/_rels/slide3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0.xml"/><Relationship Id="rId3" Type="http://schemas.openxmlformats.org/officeDocument/2006/relationships/chart" Target="../charts/chart454.xml"/><Relationship Id="rId4" Type="http://schemas.openxmlformats.org/officeDocument/2006/relationships/chart" Target="../charts/chart455.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1.xml"/><Relationship Id="rId3" Type="http://schemas.openxmlformats.org/officeDocument/2006/relationships/chart" Target="../charts/chart456.xml"/><Relationship Id="rId4" Type="http://schemas.openxmlformats.org/officeDocument/2006/relationships/chart" Target="../charts/chart457.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2.xml"/><Relationship Id="rId3" Type="http://schemas.openxmlformats.org/officeDocument/2006/relationships/chart" Target="../charts/chart458.xml"/><Relationship Id="rId4" Type="http://schemas.openxmlformats.org/officeDocument/2006/relationships/chart" Target="../charts/chart459.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460.xml"/><Relationship Id="rId4" Type="http://schemas.openxmlformats.org/officeDocument/2006/relationships/chart" Target="../charts/chart461.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462.xml"/><Relationship Id="rId4" Type="http://schemas.openxmlformats.org/officeDocument/2006/relationships/chart" Target="../charts/chart46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6.xml"/><Relationship Id="rId3" Type="http://schemas.openxmlformats.org/officeDocument/2006/relationships/chart" Target="../charts/chart466.xml"/><Relationship Id="rId4" Type="http://schemas.openxmlformats.org/officeDocument/2006/relationships/chart" Target="../charts/chart467.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7.xml"/><Relationship Id="rId3" Type="http://schemas.openxmlformats.org/officeDocument/2006/relationships/chart" Target="../charts/chart468.xml"/><Relationship Id="rId4" Type="http://schemas.openxmlformats.org/officeDocument/2006/relationships/chart" Target="../charts/chart469.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8.xml"/><Relationship Id="rId3" Type="http://schemas.openxmlformats.org/officeDocument/2006/relationships/chart" Target="../charts/chart470.xml"/><Relationship Id="rId4" Type="http://schemas.openxmlformats.org/officeDocument/2006/relationships/chart" Target="../charts/chart471.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9.xml"/><Relationship Id="rId3" Type="http://schemas.openxmlformats.org/officeDocument/2006/relationships/chart" Target="../charts/chart472.xml"/><Relationship Id="rId4" Type="http://schemas.openxmlformats.org/officeDocument/2006/relationships/chart" Target="../charts/chart473.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474.xml"/><Relationship Id="rId4" Type="http://schemas.openxmlformats.org/officeDocument/2006/relationships/chart" Target="../charts/chart475.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1.xml"/><Relationship Id="rId3" Type="http://schemas.openxmlformats.org/officeDocument/2006/relationships/chart" Target="../charts/chart476.xml"/><Relationship Id="rId4" Type="http://schemas.openxmlformats.org/officeDocument/2006/relationships/chart" Target="../charts/chart477.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2.xml"/><Relationship Id="rId3" Type="http://schemas.openxmlformats.org/officeDocument/2006/relationships/chart" Target="../charts/chart478.xml"/><Relationship Id="rId4" Type="http://schemas.openxmlformats.org/officeDocument/2006/relationships/chart" Target="../charts/chart479.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3.xml"/><Relationship Id="rId3" Type="http://schemas.openxmlformats.org/officeDocument/2006/relationships/chart" Target="../charts/chart480.xml"/><Relationship Id="rId4" Type="http://schemas.openxmlformats.org/officeDocument/2006/relationships/chart" Target="../charts/chart481.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5.xml"/><Relationship Id="rId3" Type="http://schemas.openxmlformats.org/officeDocument/2006/relationships/chart" Target="../charts/chart484.xml"/><Relationship Id="rId4" Type="http://schemas.openxmlformats.org/officeDocument/2006/relationships/chart" Target="../charts/chart485.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7.xml"/><Relationship Id="rId3" Type="http://schemas.openxmlformats.org/officeDocument/2006/relationships/chart" Target="../charts/chart488.xml"/><Relationship Id="rId4" Type="http://schemas.openxmlformats.org/officeDocument/2006/relationships/chart" Target="../charts/chart489.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8.xml"/><Relationship Id="rId3" Type="http://schemas.openxmlformats.org/officeDocument/2006/relationships/chart" Target="../charts/chart490.xml"/><Relationship Id="rId4" Type="http://schemas.openxmlformats.org/officeDocument/2006/relationships/chart" Target="../charts/chart491.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9.xml"/><Relationship Id="rId3" Type="http://schemas.openxmlformats.org/officeDocument/2006/relationships/chart" Target="../charts/chart492.xml"/><Relationship Id="rId4" Type="http://schemas.openxmlformats.org/officeDocument/2006/relationships/chart" Target="../charts/chart493.xml"/></Relationships>
</file>

<file path=ppt/slides/_rels/slide3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0.xml"/><Relationship Id="rId3" Type="http://schemas.openxmlformats.org/officeDocument/2006/relationships/chart" Target="../charts/chart494.xml"/><Relationship Id="rId4" Type="http://schemas.openxmlformats.org/officeDocument/2006/relationships/chart" Target="../charts/chart495.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1.xml"/><Relationship Id="rId3" Type="http://schemas.openxmlformats.org/officeDocument/2006/relationships/chart" Target="../charts/chart496.xml"/><Relationship Id="rId4" Type="http://schemas.openxmlformats.org/officeDocument/2006/relationships/chart" Target="../charts/chart497.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2.xml"/><Relationship Id="rId3" Type="http://schemas.openxmlformats.org/officeDocument/2006/relationships/chart" Target="../charts/chart498.xml"/><Relationship Id="rId4" Type="http://schemas.openxmlformats.org/officeDocument/2006/relationships/chart" Target="../charts/chart499.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3.xml"/><Relationship Id="rId3" Type="http://schemas.openxmlformats.org/officeDocument/2006/relationships/chart" Target="../charts/chart500.xml"/><Relationship Id="rId4" Type="http://schemas.openxmlformats.org/officeDocument/2006/relationships/chart" Target="../charts/chart501.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4.xml"/><Relationship Id="rId3" Type="http://schemas.openxmlformats.org/officeDocument/2006/relationships/chart" Target="../charts/chart502.xml"/><Relationship Id="rId4" Type="http://schemas.openxmlformats.org/officeDocument/2006/relationships/chart" Target="../charts/chart50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xml"/></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6.xml"/><Relationship Id="rId3" Type="http://schemas.openxmlformats.org/officeDocument/2006/relationships/chart" Target="../charts/chart506.xml"/><Relationship Id="rId4" Type="http://schemas.openxmlformats.org/officeDocument/2006/relationships/chart" Target="../charts/chart507.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8.xml"/><Relationship Id="rId3" Type="http://schemas.openxmlformats.org/officeDocument/2006/relationships/chart" Target="../charts/chart510.xml"/><Relationship Id="rId4" Type="http://schemas.openxmlformats.org/officeDocument/2006/relationships/chart" Target="../charts/chart511.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9.xml"/><Relationship Id="rId3" Type="http://schemas.openxmlformats.org/officeDocument/2006/relationships/chart" Target="../charts/chart512.xml"/><Relationship Id="rId4" Type="http://schemas.openxmlformats.org/officeDocument/2006/relationships/chart" Target="../charts/chart513.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0.xml"/><Relationship Id="rId3" Type="http://schemas.openxmlformats.org/officeDocument/2006/relationships/chart" Target="../charts/chart514.xml"/><Relationship Id="rId4" Type="http://schemas.openxmlformats.org/officeDocument/2006/relationships/chart" Target="../charts/chart515.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1.xml"/><Relationship Id="rId3" Type="http://schemas.openxmlformats.org/officeDocument/2006/relationships/chart" Target="../charts/chart516.xml"/><Relationship Id="rId4" Type="http://schemas.openxmlformats.org/officeDocument/2006/relationships/chart" Target="../charts/chart517.xml"/></Relationships>
</file>

<file path=ppt/slides/_rels/slide3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518.xml"/><Relationship Id="rId4" Type="http://schemas.openxmlformats.org/officeDocument/2006/relationships/chart" Target="../charts/chart519.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3.xml"/><Relationship Id="rId3" Type="http://schemas.openxmlformats.org/officeDocument/2006/relationships/chart" Target="../charts/chart520.xml"/><Relationship Id="rId4" Type="http://schemas.openxmlformats.org/officeDocument/2006/relationships/chart" Target="../charts/chart521.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4.xml"/><Relationship Id="rId3" Type="http://schemas.openxmlformats.org/officeDocument/2006/relationships/chart" Target="../charts/chart522.xml"/><Relationship Id="rId4" Type="http://schemas.openxmlformats.org/officeDocument/2006/relationships/chart" Target="../charts/chart523.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5.xml"/><Relationship Id="rId3" Type="http://schemas.openxmlformats.org/officeDocument/2006/relationships/chart" Target="../charts/chart524.xml"/><Relationship Id="rId4" Type="http://schemas.openxmlformats.org/officeDocument/2006/relationships/chart" Target="../charts/chart525.xml"/></Relationships>
</file>

<file path=ppt/slides/_rels/slide3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7.xml"/><Relationship Id="rId3" Type="http://schemas.openxmlformats.org/officeDocument/2006/relationships/chart" Target="../charts/chart528.xml"/><Relationship Id="rId4" Type="http://schemas.openxmlformats.org/officeDocument/2006/relationships/chart" Target="../charts/chart529.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9.xml"/><Relationship Id="rId3" Type="http://schemas.openxmlformats.org/officeDocument/2006/relationships/chart" Target="../charts/chart532.xml"/><Relationship Id="rId4" Type="http://schemas.openxmlformats.org/officeDocument/2006/relationships/chart" Target="../charts/chart533.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0.xml"/><Relationship Id="rId3" Type="http://schemas.openxmlformats.org/officeDocument/2006/relationships/chart" Target="../charts/chart534.xml"/><Relationship Id="rId4" Type="http://schemas.openxmlformats.org/officeDocument/2006/relationships/chart" Target="../charts/chart535.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1.xml"/><Relationship Id="rId3" Type="http://schemas.openxmlformats.org/officeDocument/2006/relationships/chart" Target="../charts/chart536.xml"/><Relationship Id="rId4" Type="http://schemas.openxmlformats.org/officeDocument/2006/relationships/chart" Target="../charts/chart537.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2.xml"/><Relationship Id="rId3" Type="http://schemas.openxmlformats.org/officeDocument/2006/relationships/chart" Target="../charts/chart538.xml"/><Relationship Id="rId4" Type="http://schemas.openxmlformats.org/officeDocument/2006/relationships/chart" Target="../charts/chart539.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3.xml"/><Relationship Id="rId3" Type="http://schemas.openxmlformats.org/officeDocument/2006/relationships/chart" Target="../charts/chart540.xml"/><Relationship Id="rId4" Type="http://schemas.openxmlformats.org/officeDocument/2006/relationships/chart" Target="../charts/chart541.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4.xml"/><Relationship Id="rId3" Type="http://schemas.openxmlformats.org/officeDocument/2006/relationships/chart" Target="../charts/chart542.xml"/><Relationship Id="rId4" Type="http://schemas.openxmlformats.org/officeDocument/2006/relationships/chart" Target="../charts/chart54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6.xml"/><Relationship Id="rId3" Type="http://schemas.openxmlformats.org/officeDocument/2006/relationships/chart" Target="../charts/chart546.xml"/><Relationship Id="rId4" Type="http://schemas.openxmlformats.org/officeDocument/2006/relationships/chart" Target="../charts/chart547.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8.xml"/><Relationship Id="rId3" Type="http://schemas.openxmlformats.org/officeDocument/2006/relationships/chart" Target="../charts/chart550.xml"/><Relationship Id="rId4" Type="http://schemas.openxmlformats.org/officeDocument/2006/relationships/chart" Target="../charts/chart551.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0.xml"/><Relationship Id="rId3" Type="http://schemas.openxmlformats.org/officeDocument/2006/relationships/chart" Target="../charts/chart554.xml"/><Relationship Id="rId4" Type="http://schemas.openxmlformats.org/officeDocument/2006/relationships/chart" Target="../charts/chart555.xml"/></Relationships>
</file>

<file path=ppt/slides/_rels/slide3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1.xml"/><Relationship Id="rId3" Type="http://schemas.openxmlformats.org/officeDocument/2006/relationships/chart" Target="../charts/chart556.xml"/><Relationship Id="rId4" Type="http://schemas.openxmlformats.org/officeDocument/2006/relationships/chart" Target="../charts/chart557.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2.xml"/><Relationship Id="rId3" Type="http://schemas.openxmlformats.org/officeDocument/2006/relationships/chart" Target="../charts/chart558.xml"/><Relationship Id="rId4" Type="http://schemas.openxmlformats.org/officeDocument/2006/relationships/chart" Target="../charts/chart559.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3.xml"/><Relationship Id="rId3" Type="http://schemas.openxmlformats.org/officeDocument/2006/relationships/chart" Target="../charts/chart560.xml"/><Relationship Id="rId4" Type="http://schemas.openxmlformats.org/officeDocument/2006/relationships/chart" Target="../charts/chart561.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4.xml"/><Relationship Id="rId3" Type="http://schemas.openxmlformats.org/officeDocument/2006/relationships/chart" Target="../charts/chart562.xml"/><Relationship Id="rId4" Type="http://schemas.openxmlformats.org/officeDocument/2006/relationships/chart" Target="../charts/chart56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5.xml"/><Relationship Id="rId3" Type="http://schemas.openxmlformats.org/officeDocument/2006/relationships/chart" Target="../charts/chart564.xml"/><Relationship Id="rId4" Type="http://schemas.openxmlformats.org/officeDocument/2006/relationships/chart" Target="../charts/chart565.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7.xml"/><Relationship Id="rId3" Type="http://schemas.openxmlformats.org/officeDocument/2006/relationships/chart" Target="../charts/chart568.xml"/><Relationship Id="rId4" Type="http://schemas.openxmlformats.org/officeDocument/2006/relationships/chart" Target="../charts/chart569.xml"/></Relationships>
</file>

<file path=ppt/slides/_rels/slide3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9.xml"/><Relationship Id="rId3" Type="http://schemas.openxmlformats.org/officeDocument/2006/relationships/chart" Target="../charts/chart572.xml"/><Relationship Id="rId4" Type="http://schemas.openxmlformats.org/officeDocument/2006/relationships/chart" Target="../charts/chart573.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2.xml"/><Relationship Id="rId3" Type="http://schemas.openxmlformats.org/officeDocument/2006/relationships/chart" Target="../charts/chart578.xml"/><Relationship Id="rId4" Type="http://schemas.openxmlformats.org/officeDocument/2006/relationships/chart" Target="../charts/chart579.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3.xml"/><Relationship Id="rId3" Type="http://schemas.openxmlformats.org/officeDocument/2006/relationships/chart" Target="../charts/chart580.xml"/><Relationship Id="rId4" Type="http://schemas.openxmlformats.org/officeDocument/2006/relationships/chart" Target="../charts/chart581.xml"/></Relationships>
</file>

<file path=ppt/slides/_rels/slide3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4.xml"/><Relationship Id="rId3" Type="http://schemas.openxmlformats.org/officeDocument/2006/relationships/chart" Target="../charts/chart582.xml"/><Relationship Id="rId4" Type="http://schemas.openxmlformats.org/officeDocument/2006/relationships/chart" Target="../charts/chart58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5.xml"/><Relationship Id="rId3" Type="http://schemas.openxmlformats.org/officeDocument/2006/relationships/chart" Target="../charts/chart584.xml"/><Relationship Id="rId4" Type="http://schemas.openxmlformats.org/officeDocument/2006/relationships/chart" Target="../charts/chart585.xml"/></Relationships>
</file>

<file path=ppt/slides/_rels/slide4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6.xml"/><Relationship Id="rId3" Type="http://schemas.openxmlformats.org/officeDocument/2006/relationships/chart" Target="../charts/chart586.xml"/><Relationship Id="rId4" Type="http://schemas.openxmlformats.org/officeDocument/2006/relationships/chart" Target="../charts/chart587.xml"/></Relationships>
</file>

<file path=ppt/slides/_rels/slide4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7.xml"/><Relationship Id="rId3" Type="http://schemas.openxmlformats.org/officeDocument/2006/relationships/chart" Target="../charts/chart588.xml"/><Relationship Id="rId4" Type="http://schemas.openxmlformats.org/officeDocument/2006/relationships/chart" Target="../charts/chart589.xml"/></Relationships>
</file>

<file path=ppt/slides/_rels/slide4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8.xml"/><Relationship Id="rId3" Type="http://schemas.openxmlformats.org/officeDocument/2006/relationships/chart" Target="../charts/chart590.xml"/><Relationship Id="rId4" Type="http://schemas.openxmlformats.org/officeDocument/2006/relationships/chart" Target="../charts/chart591.xml"/></Relationships>
</file>

<file path=ppt/slides/_rels/slide4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9.xml"/><Relationship Id="rId3" Type="http://schemas.openxmlformats.org/officeDocument/2006/relationships/chart" Target="../charts/chart592.xml"/><Relationship Id="rId4" Type="http://schemas.openxmlformats.org/officeDocument/2006/relationships/chart" Target="../charts/chart593.xml"/></Relationships>
</file>

<file path=ppt/slides/_rels/slide4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1.xml"/><Relationship Id="rId3" Type="http://schemas.openxmlformats.org/officeDocument/2006/relationships/chart" Target="../charts/chart596.xml"/><Relationship Id="rId4" Type="http://schemas.openxmlformats.org/officeDocument/2006/relationships/chart" Target="../charts/chart597.xml"/></Relationships>
</file>

<file path=ppt/slides/_rels/slide4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3.xml"/><Relationship Id="rId3" Type="http://schemas.openxmlformats.org/officeDocument/2006/relationships/chart" Target="../charts/chart600.xml"/><Relationship Id="rId4" Type="http://schemas.openxmlformats.org/officeDocument/2006/relationships/chart" Target="../charts/chart601.xml"/></Relationships>
</file>

<file path=ppt/slides/_rels/slide4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4.xml"/><Relationship Id="rId3" Type="http://schemas.openxmlformats.org/officeDocument/2006/relationships/chart" Target="../charts/chart602.xml"/><Relationship Id="rId4" Type="http://schemas.openxmlformats.org/officeDocument/2006/relationships/chart" Target="../charts/chart60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s>
</file>

<file path=ppt/slides/_rels/slide4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5.xml"/><Relationship Id="rId3" Type="http://schemas.openxmlformats.org/officeDocument/2006/relationships/chart" Target="../charts/chart604.xml"/><Relationship Id="rId4" Type="http://schemas.openxmlformats.org/officeDocument/2006/relationships/chart" Target="../charts/chart605.xml"/></Relationships>
</file>

<file path=ppt/slides/_rels/slide4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6.xml"/><Relationship Id="rId3" Type="http://schemas.openxmlformats.org/officeDocument/2006/relationships/chart" Target="../charts/chart606.xml"/><Relationship Id="rId4" Type="http://schemas.openxmlformats.org/officeDocument/2006/relationships/chart" Target="../charts/chart607.xml"/></Relationships>
</file>

<file path=ppt/slides/_rels/slide4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7.xml"/><Relationship Id="rId3" Type="http://schemas.openxmlformats.org/officeDocument/2006/relationships/chart" Target="../charts/chart608.xml"/><Relationship Id="rId4" Type="http://schemas.openxmlformats.org/officeDocument/2006/relationships/chart" Target="../charts/chart609.xml"/></Relationships>
</file>

<file path=ppt/slides/_rels/slide4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8.xml"/><Relationship Id="rId3" Type="http://schemas.openxmlformats.org/officeDocument/2006/relationships/chart" Target="../charts/chart610.xml"/><Relationship Id="rId4" Type="http://schemas.openxmlformats.org/officeDocument/2006/relationships/chart" Target="../charts/chart611.xml"/></Relationships>
</file>

<file path=ppt/slides/_rels/slide4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9.xml"/><Relationship Id="rId3" Type="http://schemas.openxmlformats.org/officeDocument/2006/relationships/chart" Target="../charts/chart612.xml"/><Relationship Id="rId4" Type="http://schemas.openxmlformats.org/officeDocument/2006/relationships/chart" Target="../charts/chart613.xml"/></Relationships>
</file>

<file path=ppt/slides/_rels/slide4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0.xml"/><Relationship Id="rId3" Type="http://schemas.openxmlformats.org/officeDocument/2006/relationships/chart" Target="../charts/chart614.xml"/><Relationship Id="rId4" Type="http://schemas.openxmlformats.org/officeDocument/2006/relationships/chart" Target="../charts/chart615.xml"/></Relationships>
</file>

<file path=ppt/slides/_rels/slide4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2.xml"/><Relationship Id="rId3" Type="http://schemas.openxmlformats.org/officeDocument/2006/relationships/chart" Target="../charts/chart618.xml"/><Relationship Id="rId4" Type="http://schemas.openxmlformats.org/officeDocument/2006/relationships/chart" Target="../charts/chart619.xml"/></Relationships>
</file>

<file path=ppt/slides/_rels/slide4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4.xml"/><Relationship Id="rId3" Type="http://schemas.openxmlformats.org/officeDocument/2006/relationships/chart" Target="../charts/chart622.xml"/><Relationship Id="rId4" Type="http://schemas.openxmlformats.org/officeDocument/2006/relationships/chart" Target="../charts/chart6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xml"/></Relationships>
</file>

<file path=ppt/slides/_rels/slide4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5.xml"/><Relationship Id="rId3" Type="http://schemas.openxmlformats.org/officeDocument/2006/relationships/chart" Target="../charts/chart624.xml"/><Relationship Id="rId4" Type="http://schemas.openxmlformats.org/officeDocument/2006/relationships/chart" Target="../charts/chart625.xml"/></Relationships>
</file>

<file path=ppt/slides/_rels/slide4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6.xml"/><Relationship Id="rId3" Type="http://schemas.openxmlformats.org/officeDocument/2006/relationships/chart" Target="../charts/chart626.xml"/><Relationship Id="rId4" Type="http://schemas.openxmlformats.org/officeDocument/2006/relationships/chart" Target="../charts/chart627.xml"/></Relationships>
</file>

<file path=ppt/slides/_rels/slide4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7.xml"/><Relationship Id="rId3" Type="http://schemas.openxmlformats.org/officeDocument/2006/relationships/chart" Target="../charts/chart628.xml"/><Relationship Id="rId4" Type="http://schemas.openxmlformats.org/officeDocument/2006/relationships/chart" Target="../charts/chart629.xml"/></Relationships>
</file>

<file path=ppt/slides/_rels/slide4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8.xml"/><Relationship Id="rId3" Type="http://schemas.openxmlformats.org/officeDocument/2006/relationships/chart" Target="../charts/chart630.xml"/><Relationship Id="rId4" Type="http://schemas.openxmlformats.org/officeDocument/2006/relationships/chart" Target="../charts/chart631.xml"/></Relationships>
</file>

<file path=ppt/slides/_rels/slide4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9.xml"/><Relationship Id="rId3" Type="http://schemas.openxmlformats.org/officeDocument/2006/relationships/chart" Target="../charts/chart632.xml"/><Relationship Id="rId4" Type="http://schemas.openxmlformats.org/officeDocument/2006/relationships/chart" Target="../charts/chart633.xml"/></Relationships>
</file>

<file path=ppt/slides/_rels/slide4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0.xml"/><Relationship Id="rId3" Type="http://schemas.openxmlformats.org/officeDocument/2006/relationships/chart" Target="../charts/chart634.xml"/><Relationship Id="rId4" Type="http://schemas.openxmlformats.org/officeDocument/2006/relationships/chart" Target="../charts/chart635.xml"/></Relationships>
</file>

<file path=ppt/slides/_rels/slide4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1.xml"/><Relationship Id="rId3" Type="http://schemas.openxmlformats.org/officeDocument/2006/relationships/chart" Target="../charts/chart636.xml"/><Relationship Id="rId4" Type="http://schemas.openxmlformats.org/officeDocument/2006/relationships/chart" Target="../charts/chart637.xml"/></Relationships>
</file>

<file path=ppt/slides/_rels/slide4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3.xml"/><Relationship Id="rId3" Type="http://schemas.openxmlformats.org/officeDocument/2006/relationships/chart" Target="../charts/chart640.xml"/><Relationship Id="rId4" Type="http://schemas.openxmlformats.org/officeDocument/2006/relationships/chart" Target="../charts/chart6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s>
</file>

<file path=ppt/slides/_rels/slide4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5.xml"/><Relationship Id="rId3" Type="http://schemas.openxmlformats.org/officeDocument/2006/relationships/chart" Target="../charts/chart644.xml"/><Relationship Id="rId4" Type="http://schemas.openxmlformats.org/officeDocument/2006/relationships/chart" Target="../charts/chart645.xml"/></Relationships>
</file>

<file path=ppt/slides/_rels/slide4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6.xml"/><Relationship Id="rId3" Type="http://schemas.openxmlformats.org/officeDocument/2006/relationships/chart" Target="../charts/chart646.xml"/><Relationship Id="rId4" Type="http://schemas.openxmlformats.org/officeDocument/2006/relationships/chart" Target="../charts/chart647.xml"/></Relationships>
</file>

<file path=ppt/slides/_rels/slide4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7.xml"/><Relationship Id="rId3" Type="http://schemas.openxmlformats.org/officeDocument/2006/relationships/chart" Target="../charts/chart648.xml"/><Relationship Id="rId4" Type="http://schemas.openxmlformats.org/officeDocument/2006/relationships/chart" Target="../charts/chart649.xml"/></Relationships>
</file>

<file path=ppt/slides/_rels/slide4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8.xml"/><Relationship Id="rId3" Type="http://schemas.openxmlformats.org/officeDocument/2006/relationships/chart" Target="../charts/chart650.xml"/><Relationship Id="rId4" Type="http://schemas.openxmlformats.org/officeDocument/2006/relationships/chart" Target="../charts/chart651.xml"/></Relationships>
</file>

<file path=ppt/slides/_rels/slide4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9.xml"/><Relationship Id="rId3" Type="http://schemas.openxmlformats.org/officeDocument/2006/relationships/chart" Target="../charts/chart652.xml"/><Relationship Id="rId4" Type="http://schemas.openxmlformats.org/officeDocument/2006/relationships/chart" Target="../charts/chart653.xml"/></Relationships>
</file>

<file path=ppt/slides/_rels/slide4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0.xml"/><Relationship Id="rId3" Type="http://schemas.openxmlformats.org/officeDocument/2006/relationships/chart" Target="../charts/chart654.xml"/><Relationship Id="rId4" Type="http://schemas.openxmlformats.org/officeDocument/2006/relationships/chart" Target="../charts/chart655.xml"/></Relationships>
</file>

<file path=ppt/slides/_rels/slide4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1.xml"/><Relationship Id="rId3" Type="http://schemas.openxmlformats.org/officeDocument/2006/relationships/chart" Target="../charts/chart656.xml"/><Relationship Id="rId4" Type="http://schemas.openxmlformats.org/officeDocument/2006/relationships/chart" Target="../charts/chart657.xml"/></Relationships>
</file>

<file path=ppt/slides/_rels/slide4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2.xml"/><Relationship Id="rId3" Type="http://schemas.openxmlformats.org/officeDocument/2006/relationships/chart" Target="../charts/chart658.xml"/><Relationship Id="rId4" Type="http://schemas.openxmlformats.org/officeDocument/2006/relationships/chart" Target="../charts/chart659.xml"/></Relationships>
</file>

<file path=ppt/slides/_rels/slide4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4.xml"/><Relationship Id="rId3" Type="http://schemas.openxmlformats.org/officeDocument/2006/relationships/chart" Target="../charts/chart662.xml"/><Relationship Id="rId4" Type="http://schemas.openxmlformats.org/officeDocument/2006/relationships/chart" Target="../charts/chart66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xml"/></Relationships>
</file>

<file path=ppt/slides/_rels/slide4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6.xml"/><Relationship Id="rId3" Type="http://schemas.openxmlformats.org/officeDocument/2006/relationships/chart" Target="../charts/chart666.xml"/><Relationship Id="rId4" Type="http://schemas.openxmlformats.org/officeDocument/2006/relationships/chart" Target="../charts/chart667.xml"/></Relationships>
</file>

<file path=ppt/slides/_rels/slide4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7.xml"/><Relationship Id="rId3" Type="http://schemas.openxmlformats.org/officeDocument/2006/relationships/chart" Target="../charts/chart668.xml"/><Relationship Id="rId4" Type="http://schemas.openxmlformats.org/officeDocument/2006/relationships/chart" Target="../charts/chart669.xml"/></Relationships>
</file>

<file path=ppt/slides/_rels/slide4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8.xml"/><Relationship Id="rId3" Type="http://schemas.openxmlformats.org/officeDocument/2006/relationships/chart" Target="../charts/chart670.xml"/><Relationship Id="rId4" Type="http://schemas.openxmlformats.org/officeDocument/2006/relationships/chart" Target="../charts/chart671.xml"/></Relationships>
</file>

<file path=ppt/slides/_rels/slide4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9.xml"/><Relationship Id="rId3" Type="http://schemas.openxmlformats.org/officeDocument/2006/relationships/chart" Target="../charts/chart672.xml"/><Relationship Id="rId4" Type="http://schemas.openxmlformats.org/officeDocument/2006/relationships/chart" Target="../charts/chart673.xml"/></Relationships>
</file>

<file path=ppt/slides/_rels/slide4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0.xml"/><Relationship Id="rId3" Type="http://schemas.openxmlformats.org/officeDocument/2006/relationships/chart" Target="../charts/chart674.xml"/><Relationship Id="rId4" Type="http://schemas.openxmlformats.org/officeDocument/2006/relationships/chart" Target="../charts/chart675.xml"/></Relationships>
</file>

<file path=ppt/slides/_rels/slide4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1.xml"/><Relationship Id="rId3" Type="http://schemas.openxmlformats.org/officeDocument/2006/relationships/chart" Target="../charts/chart676.xml"/><Relationship Id="rId4" Type="http://schemas.openxmlformats.org/officeDocument/2006/relationships/chart" Target="../charts/chart677.xml"/></Relationships>
</file>

<file path=ppt/slides/_rels/slide4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3.xml"/><Relationship Id="rId3" Type="http://schemas.openxmlformats.org/officeDocument/2006/relationships/chart" Target="../charts/chart680.xml"/><Relationship Id="rId4" Type="http://schemas.openxmlformats.org/officeDocument/2006/relationships/chart" Target="../charts/chart68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s>
</file>

<file path=ppt/slides/_rels/slide4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5.xml"/><Relationship Id="rId3" Type="http://schemas.openxmlformats.org/officeDocument/2006/relationships/chart" Target="../charts/chart684.xml"/><Relationship Id="rId4" Type="http://schemas.openxmlformats.org/officeDocument/2006/relationships/chart" Target="../charts/chart685.xml"/></Relationships>
</file>

<file path=ppt/slides/_rels/slide4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7.xml"/><Relationship Id="rId3" Type="http://schemas.openxmlformats.org/officeDocument/2006/relationships/chart" Target="../charts/chart688.xml"/><Relationship Id="rId4" Type="http://schemas.openxmlformats.org/officeDocument/2006/relationships/chart" Target="../charts/chart689.xml"/></Relationships>
</file>

<file path=ppt/slides/_rels/slide4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8.xml"/><Relationship Id="rId3" Type="http://schemas.openxmlformats.org/officeDocument/2006/relationships/chart" Target="../charts/chart690.xml"/><Relationship Id="rId4" Type="http://schemas.openxmlformats.org/officeDocument/2006/relationships/chart" Target="../charts/chart691.xml"/></Relationships>
</file>

<file path=ppt/slides/_rels/slide4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9.xml"/><Relationship Id="rId3" Type="http://schemas.openxmlformats.org/officeDocument/2006/relationships/chart" Target="../charts/chart692.xml"/><Relationship Id="rId4" Type="http://schemas.openxmlformats.org/officeDocument/2006/relationships/chart" Target="../charts/chart693.xml"/></Relationships>
</file>

<file path=ppt/slides/_rels/slide4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0.xml"/><Relationship Id="rId3" Type="http://schemas.openxmlformats.org/officeDocument/2006/relationships/chart" Target="../charts/chart694.xml"/><Relationship Id="rId4" Type="http://schemas.openxmlformats.org/officeDocument/2006/relationships/chart" Target="../charts/chart695.xml"/></Relationships>
</file>

<file path=ppt/slides/_rels/slide4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1.xml"/><Relationship Id="rId3" Type="http://schemas.openxmlformats.org/officeDocument/2006/relationships/chart" Target="../charts/chart696.xml"/><Relationship Id="rId4" Type="http://schemas.openxmlformats.org/officeDocument/2006/relationships/chart" Target="../charts/chart697.xml"/></Relationships>
</file>

<file path=ppt/slides/_rels/slide4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2.xml"/><Relationship Id="rId3" Type="http://schemas.openxmlformats.org/officeDocument/2006/relationships/chart" Target="../charts/chart698.xml"/><Relationship Id="rId4" Type="http://schemas.openxmlformats.org/officeDocument/2006/relationships/chart" Target="../charts/chart699.xml"/></Relationships>
</file>

<file path=ppt/slides/_rels/slide4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4.xml"/><Relationship Id="rId3" Type="http://schemas.openxmlformats.org/officeDocument/2006/relationships/chart" Target="../charts/chart702.xml"/><Relationship Id="rId4" Type="http://schemas.openxmlformats.org/officeDocument/2006/relationships/chart" Target="../charts/chart703.xml"/></Relationships>
</file>

<file path=ppt/slides/_rels/slide4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6.xml"/><Relationship Id="rId3" Type="http://schemas.openxmlformats.org/officeDocument/2006/relationships/chart" Target="../charts/chart706.xml"/><Relationship Id="rId4" Type="http://schemas.openxmlformats.org/officeDocument/2006/relationships/chart" Target="../charts/chart707.xml"/></Relationships>
</file>

<file path=ppt/slides/_rels/slide4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8.xml"/><Relationship Id="rId3" Type="http://schemas.openxmlformats.org/officeDocument/2006/relationships/chart" Target="../charts/chart710.xml"/><Relationship Id="rId4" Type="http://schemas.openxmlformats.org/officeDocument/2006/relationships/chart" Target="../charts/chart711.xml"/></Relationships>
</file>

<file path=ppt/slides/_rels/slide4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9.xml"/><Relationship Id="rId3" Type="http://schemas.openxmlformats.org/officeDocument/2006/relationships/chart" Target="../charts/chart712.xml"/><Relationship Id="rId4" Type="http://schemas.openxmlformats.org/officeDocument/2006/relationships/chart" Target="../charts/chart713.xml"/></Relationships>
</file>

<file path=ppt/slides/_rels/slide4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0.xml"/><Relationship Id="rId3" Type="http://schemas.openxmlformats.org/officeDocument/2006/relationships/chart" Target="../charts/chart714.xml"/><Relationship Id="rId4" Type="http://schemas.openxmlformats.org/officeDocument/2006/relationships/chart" Target="../charts/chart715.xml"/></Relationships>
</file>

<file path=ppt/slides/_rels/slide4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1.xml"/><Relationship Id="rId3" Type="http://schemas.openxmlformats.org/officeDocument/2006/relationships/chart" Target="../charts/chart716.xml"/><Relationship Id="rId4" Type="http://schemas.openxmlformats.org/officeDocument/2006/relationships/chart" Target="../charts/chart717.xml"/></Relationships>
</file>

<file path=ppt/slides/_rels/slide4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2.xml"/><Relationship Id="rId3" Type="http://schemas.openxmlformats.org/officeDocument/2006/relationships/chart" Target="../charts/chart718.xml"/><Relationship Id="rId4" Type="http://schemas.openxmlformats.org/officeDocument/2006/relationships/chart" Target="../charts/chart719.xml"/></Relationships>
</file>

<file path=ppt/slides/_rels/slide4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3.xml"/><Relationship Id="rId3" Type="http://schemas.openxmlformats.org/officeDocument/2006/relationships/chart" Target="../charts/chart720.xml"/><Relationship Id="rId4" Type="http://schemas.openxmlformats.org/officeDocument/2006/relationships/chart" Target="../charts/chart7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s>
</file>

<file path=ppt/slides/_rels/slide4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5.xml"/><Relationship Id="rId3" Type="http://schemas.openxmlformats.org/officeDocument/2006/relationships/chart" Target="../charts/chart724.xml"/><Relationship Id="rId4" Type="http://schemas.openxmlformats.org/officeDocument/2006/relationships/chart" Target="../charts/chart725.xml"/></Relationships>
</file>

<file path=ppt/slides/_rels/slide4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6.xml"/><Relationship Id="rId3" Type="http://schemas.openxmlformats.org/officeDocument/2006/relationships/chart" Target="../charts/chart726.xml"/><Relationship Id="rId4" Type="http://schemas.openxmlformats.org/officeDocument/2006/relationships/chart" Target="../charts/chart727.xml"/></Relationships>
</file>

<file path=ppt/slides/_rels/slide4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7.xml"/><Relationship Id="rId3" Type="http://schemas.openxmlformats.org/officeDocument/2006/relationships/chart" Target="../charts/chart728.xml"/><Relationship Id="rId4" Type="http://schemas.openxmlformats.org/officeDocument/2006/relationships/chart" Target="../charts/chart729.xml"/></Relationships>
</file>

<file path=ppt/slides/_rels/slide4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9.xml"/><Relationship Id="rId3" Type="http://schemas.openxmlformats.org/officeDocument/2006/relationships/chart" Target="../charts/chart732.xml"/><Relationship Id="rId4" Type="http://schemas.openxmlformats.org/officeDocument/2006/relationships/chart" Target="../charts/chart733.xml"/></Relationships>
</file>

<file path=ppt/slides/_rels/slide4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0.xml"/><Relationship Id="rId3" Type="http://schemas.openxmlformats.org/officeDocument/2006/relationships/chart" Target="../charts/chart734.xml"/><Relationship Id="rId4" Type="http://schemas.openxmlformats.org/officeDocument/2006/relationships/chart" Target="../charts/chart735.xml"/></Relationships>
</file>

<file path=ppt/slides/_rels/slide4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1.xml"/><Relationship Id="rId3" Type="http://schemas.openxmlformats.org/officeDocument/2006/relationships/chart" Target="../charts/chart736.xml"/><Relationship Id="rId4" Type="http://schemas.openxmlformats.org/officeDocument/2006/relationships/chart" Target="../charts/chart737.xml"/></Relationships>
</file>

<file path=ppt/slides/_rels/slide4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2.xml"/><Relationship Id="rId3" Type="http://schemas.openxmlformats.org/officeDocument/2006/relationships/chart" Target="../charts/chart738.xml"/><Relationship Id="rId4" Type="http://schemas.openxmlformats.org/officeDocument/2006/relationships/chart" Target="../charts/chart739.xml"/></Relationships>
</file>

<file path=ppt/slides/_rels/slide4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3.xml"/><Relationship Id="rId3" Type="http://schemas.openxmlformats.org/officeDocument/2006/relationships/chart" Target="../charts/chart740.xml"/><Relationship Id="rId4" Type="http://schemas.openxmlformats.org/officeDocument/2006/relationships/chart" Target="../charts/chart741.xml"/></Relationships>
</file>

<file path=ppt/slides/_rels/slide4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4.xml"/><Relationship Id="rId3" Type="http://schemas.openxmlformats.org/officeDocument/2006/relationships/chart" Target="../charts/chart742.xml"/><Relationship Id="rId4" Type="http://schemas.openxmlformats.org/officeDocument/2006/relationships/chart" Target="../charts/chart743.xml"/></Relationships>
</file>

<file path=ppt/slides/_rels/slide4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6.xml"/><Relationship Id="rId3" Type="http://schemas.openxmlformats.org/officeDocument/2006/relationships/chart" Target="../charts/chart746.xml"/><Relationship Id="rId4" Type="http://schemas.openxmlformats.org/officeDocument/2006/relationships/chart" Target="../charts/chart747.xml"/></Relationships>
</file>

<file path=ppt/slides/_rels/slide4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7.xml"/><Relationship Id="rId3" Type="http://schemas.openxmlformats.org/officeDocument/2006/relationships/chart" Target="../charts/chart748.xml"/><Relationship Id="rId4" Type="http://schemas.openxmlformats.org/officeDocument/2006/relationships/chart" Target="../charts/chart749.xml"/></Relationships>
</file>

<file path=ppt/slides/_rels/slide4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8.xml"/><Relationship Id="rId3" Type="http://schemas.openxmlformats.org/officeDocument/2006/relationships/chart" Target="../charts/chart750.xml"/><Relationship Id="rId4" Type="http://schemas.openxmlformats.org/officeDocument/2006/relationships/chart" Target="../charts/chart751.xml"/></Relationships>
</file>

<file path=ppt/slides/_rels/slide4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9.xml"/><Relationship Id="rId3" Type="http://schemas.openxmlformats.org/officeDocument/2006/relationships/chart" Target="../charts/chart752.xml"/><Relationship Id="rId4" Type="http://schemas.openxmlformats.org/officeDocument/2006/relationships/chart" Target="../charts/chart753.xml"/></Relationships>
</file>

<file path=ppt/slides/_rels/slide4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0.xml"/><Relationship Id="rId3" Type="http://schemas.openxmlformats.org/officeDocument/2006/relationships/chart" Target="../charts/chart754.xml"/><Relationship Id="rId4" Type="http://schemas.openxmlformats.org/officeDocument/2006/relationships/chart" Target="../charts/chart755.xml"/></Relationships>
</file>

<file path=ppt/slides/_rels/slide4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1.xml"/><Relationship Id="rId3" Type="http://schemas.openxmlformats.org/officeDocument/2006/relationships/chart" Target="../charts/chart756.xml"/><Relationship Id="rId4" Type="http://schemas.openxmlformats.org/officeDocument/2006/relationships/chart" Target="../charts/chart757.xml"/></Relationships>
</file>

<file path=ppt/slides/_rels/slide4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2.xml"/><Relationship Id="rId3" Type="http://schemas.openxmlformats.org/officeDocument/2006/relationships/chart" Target="../charts/chart758.xml"/><Relationship Id="rId4" Type="http://schemas.openxmlformats.org/officeDocument/2006/relationships/chart" Target="../charts/chart759.xml"/></Relationships>
</file>

<file path=ppt/slides/_rels/slide4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3.xml"/><Relationship Id="rId3" Type="http://schemas.openxmlformats.org/officeDocument/2006/relationships/chart" Target="../charts/chart760.xml"/><Relationship Id="rId4" Type="http://schemas.openxmlformats.org/officeDocument/2006/relationships/chart" Target="../charts/chart76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s>
</file>

<file path=ppt/slides/_rels/slide4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5.xml"/><Relationship Id="rId3" Type="http://schemas.openxmlformats.org/officeDocument/2006/relationships/chart" Target="../charts/chart764.xml"/><Relationship Id="rId4" Type="http://schemas.openxmlformats.org/officeDocument/2006/relationships/chart" Target="../charts/chart765.xml"/></Relationships>
</file>

<file path=ppt/slides/_rels/slide4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7.xml"/><Relationship Id="rId3" Type="http://schemas.openxmlformats.org/officeDocument/2006/relationships/chart" Target="../charts/chart768.xml"/><Relationship Id="rId4" Type="http://schemas.openxmlformats.org/officeDocument/2006/relationships/chart" Target="../charts/chart769.xml"/></Relationships>
</file>

<file path=ppt/slides/_rels/slide4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8.xml"/><Relationship Id="rId3" Type="http://schemas.openxmlformats.org/officeDocument/2006/relationships/chart" Target="../charts/chart770.xml"/><Relationship Id="rId4" Type="http://schemas.openxmlformats.org/officeDocument/2006/relationships/chart" Target="../charts/chart771.xml"/></Relationships>
</file>

<file path=ppt/slides/_rels/slide4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9.xml"/><Relationship Id="rId3" Type="http://schemas.openxmlformats.org/officeDocument/2006/relationships/chart" Target="../charts/chart772.xml"/><Relationship Id="rId4" Type="http://schemas.openxmlformats.org/officeDocument/2006/relationships/chart" Target="../charts/chart773.xml"/></Relationships>
</file>

<file path=ppt/slides/_rels/slide4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0.xml"/><Relationship Id="rId3" Type="http://schemas.openxmlformats.org/officeDocument/2006/relationships/chart" Target="../charts/chart774.xml"/><Relationship Id="rId4" Type="http://schemas.openxmlformats.org/officeDocument/2006/relationships/chart" Target="../charts/chart775.xml"/></Relationships>
</file>

<file path=ppt/slides/_rels/slide4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2.xml"/><Relationship Id="rId3" Type="http://schemas.openxmlformats.org/officeDocument/2006/relationships/chart" Target="../charts/chart778.xml"/><Relationship Id="rId4" Type="http://schemas.openxmlformats.org/officeDocument/2006/relationships/chart" Target="../charts/chart779.xml"/></Relationships>
</file>

<file path=ppt/slides/_rels/slide4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3.xml"/><Relationship Id="rId3" Type="http://schemas.openxmlformats.org/officeDocument/2006/relationships/chart" Target="../charts/chart780.xml"/><Relationship Id="rId4" Type="http://schemas.openxmlformats.org/officeDocument/2006/relationships/chart" Target="../charts/chart781.xml"/></Relationships>
</file>

<file path=ppt/slides/_rels/slide4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4.xml"/><Relationship Id="rId3" Type="http://schemas.openxmlformats.org/officeDocument/2006/relationships/chart" Target="../charts/chart782.xml"/><Relationship Id="rId4" Type="http://schemas.openxmlformats.org/officeDocument/2006/relationships/chart" Target="../charts/chart78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0.xml"/></Relationships>
</file>

<file path=ppt/slides/_rels/slide5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5.xml"/><Relationship Id="rId3" Type="http://schemas.openxmlformats.org/officeDocument/2006/relationships/chart" Target="../charts/chart784.xml"/><Relationship Id="rId4" Type="http://schemas.openxmlformats.org/officeDocument/2006/relationships/chart" Target="../charts/chart785.xml"/></Relationships>
</file>

<file path=ppt/slides/_rels/slide5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6.xml"/><Relationship Id="rId3" Type="http://schemas.openxmlformats.org/officeDocument/2006/relationships/chart" Target="../charts/chart786.xml"/><Relationship Id="rId4" Type="http://schemas.openxmlformats.org/officeDocument/2006/relationships/chart" Target="../charts/chart787.xml"/></Relationships>
</file>

<file path=ppt/slides/_rels/slide5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7.xml"/><Relationship Id="rId3" Type="http://schemas.openxmlformats.org/officeDocument/2006/relationships/chart" Target="../charts/chart788.xml"/><Relationship Id="rId4" Type="http://schemas.openxmlformats.org/officeDocument/2006/relationships/chart" Target="../charts/chart789.xml"/></Relationships>
</file>

<file path=ppt/slides/_rels/slide5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9.xml"/><Relationship Id="rId3" Type="http://schemas.openxmlformats.org/officeDocument/2006/relationships/chart" Target="../charts/chart792.xml"/><Relationship Id="rId4" Type="http://schemas.openxmlformats.org/officeDocument/2006/relationships/chart" Target="../charts/chart793.xml"/></Relationships>
</file>

<file path=ppt/slides/_rels/slide5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1.xml"/><Relationship Id="rId3" Type="http://schemas.openxmlformats.org/officeDocument/2006/relationships/chart" Target="../charts/chart796.xml"/><Relationship Id="rId4" Type="http://schemas.openxmlformats.org/officeDocument/2006/relationships/chart" Target="../charts/chart797.xml"/></Relationships>
</file>

<file path=ppt/slides/_rels/slide5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3.xml"/><Relationship Id="rId3" Type="http://schemas.openxmlformats.org/officeDocument/2006/relationships/chart" Target="../charts/chart800.xml"/><Relationship Id="rId4" Type="http://schemas.openxmlformats.org/officeDocument/2006/relationships/chart" Target="../charts/chart801.xml"/></Relationships>
</file>

<file path=ppt/slides/_rels/slide5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4.xml"/><Relationship Id="rId3" Type="http://schemas.openxmlformats.org/officeDocument/2006/relationships/chart" Target="../charts/chart802.xml"/><Relationship Id="rId4" Type="http://schemas.openxmlformats.org/officeDocument/2006/relationships/chart" Target="../charts/chart80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s>
</file>

<file path=ppt/slides/_rels/slide5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5.xml"/><Relationship Id="rId3" Type="http://schemas.openxmlformats.org/officeDocument/2006/relationships/chart" Target="../charts/chart804.xml"/><Relationship Id="rId4" Type="http://schemas.openxmlformats.org/officeDocument/2006/relationships/chart" Target="../charts/chart805.xml"/></Relationships>
</file>

<file path=ppt/slides/_rels/slide5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6.xml"/><Relationship Id="rId3" Type="http://schemas.openxmlformats.org/officeDocument/2006/relationships/chart" Target="../charts/chart806.xml"/><Relationship Id="rId4" Type="http://schemas.openxmlformats.org/officeDocument/2006/relationships/chart" Target="../charts/chart807.xml"/></Relationships>
</file>

<file path=ppt/slides/_rels/slide5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7.xml"/><Relationship Id="rId3" Type="http://schemas.openxmlformats.org/officeDocument/2006/relationships/chart" Target="../charts/chart808.xml"/><Relationship Id="rId4" Type="http://schemas.openxmlformats.org/officeDocument/2006/relationships/chart" Target="../charts/chart809.xml"/></Relationships>
</file>

<file path=ppt/slides/_rels/slide5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8.xml"/><Relationship Id="rId3" Type="http://schemas.openxmlformats.org/officeDocument/2006/relationships/chart" Target="../charts/chart810.xml"/><Relationship Id="rId4" Type="http://schemas.openxmlformats.org/officeDocument/2006/relationships/chart" Target="../charts/chart811.xml"/></Relationships>
</file>

<file path=ppt/slides/_rels/slide5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0.xml"/><Relationship Id="rId3" Type="http://schemas.openxmlformats.org/officeDocument/2006/relationships/chart" Target="../charts/chart814.xml"/><Relationship Id="rId4" Type="http://schemas.openxmlformats.org/officeDocument/2006/relationships/chart" Target="../charts/chart815.xml"/></Relationships>
</file>

<file path=ppt/slides/_rels/slide5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2.xml"/><Relationship Id="rId3" Type="http://schemas.openxmlformats.org/officeDocument/2006/relationships/chart" Target="../charts/chart818.xml"/><Relationship Id="rId4" Type="http://schemas.openxmlformats.org/officeDocument/2006/relationships/chart" Target="../charts/chart819.xml"/></Relationships>
</file>

<file path=ppt/slides/_rels/slide5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4.xml"/><Relationship Id="rId3" Type="http://schemas.openxmlformats.org/officeDocument/2006/relationships/chart" Target="../charts/chart822.xml"/><Relationship Id="rId4" Type="http://schemas.openxmlformats.org/officeDocument/2006/relationships/chart" Target="../charts/chart82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2.xml"/></Relationships>
</file>

<file path=ppt/slides/_rels/slide5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5.xml"/><Relationship Id="rId3" Type="http://schemas.openxmlformats.org/officeDocument/2006/relationships/chart" Target="../charts/chart824.xml"/><Relationship Id="rId4" Type="http://schemas.openxmlformats.org/officeDocument/2006/relationships/chart" Target="../charts/chart825.xml"/></Relationships>
</file>

<file path=ppt/slides/_rels/slide5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6.xml"/><Relationship Id="rId3" Type="http://schemas.openxmlformats.org/officeDocument/2006/relationships/chart" Target="../charts/chart826.xml"/><Relationship Id="rId4" Type="http://schemas.openxmlformats.org/officeDocument/2006/relationships/chart" Target="../charts/chart827.xml"/></Relationships>
</file>

<file path=ppt/slides/_rels/slide5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7.xml"/><Relationship Id="rId3" Type="http://schemas.openxmlformats.org/officeDocument/2006/relationships/chart" Target="../charts/chart828.xml"/><Relationship Id="rId4" Type="http://schemas.openxmlformats.org/officeDocument/2006/relationships/chart" Target="../charts/chart829.xml"/></Relationships>
</file>

<file path=ppt/slides/_rels/slide5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8.xml"/><Relationship Id="rId3" Type="http://schemas.openxmlformats.org/officeDocument/2006/relationships/chart" Target="../charts/chart830.xml"/><Relationship Id="rId4" Type="http://schemas.openxmlformats.org/officeDocument/2006/relationships/chart" Target="../charts/chart831.xml"/></Relationships>
</file>

<file path=ppt/slides/_rels/slide5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9.xml"/><Relationship Id="rId3" Type="http://schemas.openxmlformats.org/officeDocument/2006/relationships/chart" Target="../charts/chart832.xml"/><Relationship Id="rId4" Type="http://schemas.openxmlformats.org/officeDocument/2006/relationships/chart" Target="../charts/chart833.xml"/></Relationships>
</file>

<file path=ppt/slides/_rels/slide5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1.xml"/><Relationship Id="rId3" Type="http://schemas.openxmlformats.org/officeDocument/2006/relationships/chart" Target="../charts/chart836.xml"/><Relationship Id="rId4" Type="http://schemas.openxmlformats.org/officeDocument/2006/relationships/chart" Target="../charts/chart837.xml"/></Relationships>
</file>

<file path=ppt/slides/_rels/slide5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2.xml"/><Relationship Id="rId3" Type="http://schemas.openxmlformats.org/officeDocument/2006/relationships/chart" Target="../charts/chart838.xml"/><Relationship Id="rId4" Type="http://schemas.openxmlformats.org/officeDocument/2006/relationships/chart" Target="../charts/chart839.xml"/></Relationships>
</file>

<file path=ppt/slides/_rels/slide5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3.xml"/><Relationship Id="rId3" Type="http://schemas.openxmlformats.org/officeDocument/2006/relationships/chart" Target="../charts/chart840.xml"/><Relationship Id="rId4" Type="http://schemas.openxmlformats.org/officeDocument/2006/relationships/chart" Target="../charts/chart84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s>
</file>

<file path=ppt/slides/_rels/slide5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5.xml"/><Relationship Id="rId3" Type="http://schemas.openxmlformats.org/officeDocument/2006/relationships/chart" Target="../charts/chart844.xml"/><Relationship Id="rId4" Type="http://schemas.openxmlformats.org/officeDocument/2006/relationships/chart" Target="../charts/chart845.xml"/></Relationships>
</file>

<file path=ppt/slides/_rels/slide5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6.xml"/><Relationship Id="rId3" Type="http://schemas.openxmlformats.org/officeDocument/2006/relationships/chart" Target="../charts/chart846.xml"/><Relationship Id="rId4" Type="http://schemas.openxmlformats.org/officeDocument/2006/relationships/chart" Target="../charts/chart847.xml"/></Relationships>
</file>

<file path=ppt/slides/_rels/slide5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7.xml"/><Relationship Id="rId3" Type="http://schemas.openxmlformats.org/officeDocument/2006/relationships/chart" Target="../charts/chart848.xml"/><Relationship Id="rId4" Type="http://schemas.openxmlformats.org/officeDocument/2006/relationships/chart" Target="../charts/chart849.xml"/></Relationships>
</file>

<file path=ppt/slides/_rels/slide5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8.xml"/><Relationship Id="rId3" Type="http://schemas.openxmlformats.org/officeDocument/2006/relationships/chart" Target="../charts/chart850.xml"/><Relationship Id="rId4" Type="http://schemas.openxmlformats.org/officeDocument/2006/relationships/chart" Target="../charts/chart851.xml"/></Relationships>
</file>

<file path=ppt/slides/_rels/slide5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9.xml"/><Relationship Id="rId3" Type="http://schemas.openxmlformats.org/officeDocument/2006/relationships/chart" Target="../charts/chart852.xml"/><Relationship Id="rId4" Type="http://schemas.openxmlformats.org/officeDocument/2006/relationships/chart" Target="../charts/chart853.xml"/></Relationships>
</file>

<file path=ppt/slides/_rels/slide5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0.xml"/><Relationship Id="rId3" Type="http://schemas.openxmlformats.org/officeDocument/2006/relationships/chart" Target="../charts/chart854.xml"/><Relationship Id="rId4" Type="http://schemas.openxmlformats.org/officeDocument/2006/relationships/chart" Target="../charts/chart855.xml"/></Relationships>
</file>

<file path=ppt/slides/_rels/slide5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2.xml"/><Relationship Id="rId3" Type="http://schemas.openxmlformats.org/officeDocument/2006/relationships/chart" Target="../charts/chart858.xml"/><Relationship Id="rId4" Type="http://schemas.openxmlformats.org/officeDocument/2006/relationships/chart" Target="../charts/chart859.xml"/></Relationships>
</file>

<file path=ppt/slides/_rels/slide5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3.xml"/><Relationship Id="rId3" Type="http://schemas.openxmlformats.org/officeDocument/2006/relationships/chart" Target="../charts/chart860.xml"/><Relationship Id="rId4" Type="http://schemas.openxmlformats.org/officeDocument/2006/relationships/chart" Target="../charts/chart861.xml"/></Relationships>
</file>

<file path=ppt/slides/_rels/slide5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4.xml"/><Relationship Id="rId3" Type="http://schemas.openxmlformats.org/officeDocument/2006/relationships/chart" Target="../charts/chart862.xml"/><Relationship Id="rId4" Type="http://schemas.openxmlformats.org/officeDocument/2006/relationships/chart" Target="../charts/chart86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4.xml"/></Relationships>
</file>

<file path=ppt/slides/_rels/slide5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5.xml"/><Relationship Id="rId3" Type="http://schemas.openxmlformats.org/officeDocument/2006/relationships/chart" Target="../charts/chart864.xml"/><Relationship Id="rId4" Type="http://schemas.openxmlformats.org/officeDocument/2006/relationships/chart" Target="../charts/chart865.xml"/></Relationships>
</file>

<file path=ppt/slides/_rels/slide5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6.xml"/><Relationship Id="rId3" Type="http://schemas.openxmlformats.org/officeDocument/2006/relationships/chart" Target="../charts/chart866.xml"/><Relationship Id="rId4" Type="http://schemas.openxmlformats.org/officeDocument/2006/relationships/chart" Target="../charts/chart867.xml"/></Relationships>
</file>

<file path=ppt/slides/_rels/slide5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7.xml"/><Relationship Id="rId3" Type="http://schemas.openxmlformats.org/officeDocument/2006/relationships/chart" Target="../charts/chart868.xml"/><Relationship Id="rId4" Type="http://schemas.openxmlformats.org/officeDocument/2006/relationships/chart" Target="../charts/chart869.xml"/></Relationships>
</file>

<file path=ppt/slides/_rels/slide5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8.xml"/><Relationship Id="rId3" Type="http://schemas.openxmlformats.org/officeDocument/2006/relationships/chart" Target="../charts/chart870.xml"/><Relationship Id="rId4" Type="http://schemas.openxmlformats.org/officeDocument/2006/relationships/chart" Target="../charts/chart871.xml"/></Relationships>
</file>

<file path=ppt/slides/_rels/slide5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9.xml"/><Relationship Id="rId3" Type="http://schemas.openxmlformats.org/officeDocument/2006/relationships/chart" Target="../charts/chart872.xml"/><Relationship Id="rId4" Type="http://schemas.openxmlformats.org/officeDocument/2006/relationships/chart" Target="../charts/chart873.xml"/></Relationships>
</file>

<file path=ppt/slides/_rels/slide5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1.xml"/><Relationship Id="rId3" Type="http://schemas.openxmlformats.org/officeDocument/2006/relationships/chart" Target="../charts/chart876.xml"/><Relationship Id="rId4" Type="http://schemas.openxmlformats.org/officeDocument/2006/relationships/chart" Target="../charts/chart877.xml"/></Relationships>
</file>

<file path=ppt/slides/_rels/slide5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3.xml"/><Relationship Id="rId3" Type="http://schemas.openxmlformats.org/officeDocument/2006/relationships/chart" Target="../charts/chart880.xml"/><Relationship Id="rId4" Type="http://schemas.openxmlformats.org/officeDocument/2006/relationships/chart" Target="../charts/chart881.xml"/></Relationships>
</file>

<file path=ppt/slides/_rels/slide5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4.xml"/><Relationship Id="rId3" Type="http://schemas.openxmlformats.org/officeDocument/2006/relationships/chart" Target="../charts/chart882.xml"/><Relationship Id="rId4" Type="http://schemas.openxmlformats.org/officeDocument/2006/relationships/chart" Target="../charts/chart88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s>
</file>

<file path=ppt/slides/_rels/slide5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5.xml"/><Relationship Id="rId3" Type="http://schemas.openxmlformats.org/officeDocument/2006/relationships/chart" Target="../charts/chart884.xml"/><Relationship Id="rId4" Type="http://schemas.openxmlformats.org/officeDocument/2006/relationships/chart" Target="../charts/chart885.xml"/></Relationships>
</file>

<file path=ppt/slides/_rels/slide5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6.xml"/><Relationship Id="rId3" Type="http://schemas.openxmlformats.org/officeDocument/2006/relationships/chart" Target="../charts/chart886.xml"/><Relationship Id="rId4" Type="http://schemas.openxmlformats.org/officeDocument/2006/relationships/chart" Target="../charts/chart887.xml"/></Relationships>
</file>

<file path=ppt/slides/_rels/slide5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7.xml"/><Relationship Id="rId3" Type="http://schemas.openxmlformats.org/officeDocument/2006/relationships/chart" Target="../charts/chart888.xml"/><Relationship Id="rId4" Type="http://schemas.openxmlformats.org/officeDocument/2006/relationships/chart" Target="../charts/chart889.xml"/></Relationships>
</file>

<file path=ppt/slides/_rels/slide5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8.xml"/><Relationship Id="rId3" Type="http://schemas.openxmlformats.org/officeDocument/2006/relationships/chart" Target="../charts/chart890.xml"/><Relationship Id="rId4" Type="http://schemas.openxmlformats.org/officeDocument/2006/relationships/chart" Target="../charts/chart891.xml"/></Relationships>
</file>

<file path=ppt/slides/_rels/slide5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9.xml"/><Relationship Id="rId3" Type="http://schemas.openxmlformats.org/officeDocument/2006/relationships/chart" Target="../charts/chart892.xml"/><Relationship Id="rId4" Type="http://schemas.openxmlformats.org/officeDocument/2006/relationships/chart" Target="../charts/chart893.xml"/></Relationships>
</file>

<file path=ppt/slides/_rels/slide5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0.xml"/><Relationship Id="rId3" Type="http://schemas.openxmlformats.org/officeDocument/2006/relationships/chart" Target="../charts/chart894.xml"/><Relationship Id="rId4" Type="http://schemas.openxmlformats.org/officeDocument/2006/relationships/chart" Target="../charts/chart895.xml"/></Relationships>
</file>

<file path=ppt/slides/_rels/slide557.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7.xml"/></Relationships>
</file>

<file path=ppt/slides/_rels/slide559.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6.xml"/></Relationships>
</file>

<file path=ppt/slides/_rels/slide56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3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0.xml"/></Relationships>
</file>

<file path=ppt/slides/_rels/slide561.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3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1.xml"/></Relationships>
</file>

<file path=ppt/slides/_rels/slide562.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2.xml"/></Relationships>
</file>

<file path=ppt/slides/_rels/slide563.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3.xml"/></Relationships>
</file>

<file path=ppt/slides/_rels/slide564.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3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4.xml"/></Relationships>
</file>

<file path=ppt/slides/_rels/slide565.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3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s>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604619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5813100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261512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408354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419749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9095440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338596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35806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3891007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685381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998393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715750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4213428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6584641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37892019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1378486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51057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8447437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676934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9224488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038205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2620187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8466775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644462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40523804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004669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82005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06946901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571552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8633893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2001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752913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785593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2361761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8295050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2223396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10664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3428302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0607596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0150379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0598559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6808511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2151894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7338939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6669613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0113716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3156364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7879459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8223396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039134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5393587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99215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1233964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2569560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38654059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88524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0828176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0045165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25852148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6213310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99166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1152817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325603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341840544"/>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820932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1191527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3494313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Billi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2090288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Hydro Silk</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19918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Intuiti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963519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Skintimat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566185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043355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4874654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34963072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0351221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9464860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261588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9956565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073670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499840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6438402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2276742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8246944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2323230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7663638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5113969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67749567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5100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2512573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80624762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6360143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5849533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0041380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5488573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4982381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1123961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0820283"/>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09326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3606071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1849456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7612042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03181954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2805580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5342357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4578575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Amazo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6887172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CVS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22240201"/>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Walmar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996697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94006772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CV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8496505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Walmart Nm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420863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Walmart Sc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5179591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Manual Shave Women | Amazon 3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673358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4928516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5723092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267319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55588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6352187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35119919"/>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7556867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8592575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224938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4560308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271598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6591525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70108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875967066"/>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3191464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6174690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870421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1428300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5631766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4434030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83600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35342787"/>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0909873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2727082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8666165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2560703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7097125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0081705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4761102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747689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7006060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38541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6432907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4391630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7780131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5640938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6358200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47975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9717878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0134504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8627702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77142588"/>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0931565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0214706"/>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5285158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8014531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201109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407856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572343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1328865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3805697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0140313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0574731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90987699"/>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7442045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485693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7183629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1669715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46598785"/>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45341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6244232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5645941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9322639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68539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202311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54788777"/>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3954794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40517414"/>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1530303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8587216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66909500"/>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05412654"/>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18874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91069667"/>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6599621"/>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60775816"/>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4596629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2471439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1543853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56222924"/>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98472461"/>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289715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888377606"/>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7154652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8732231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9297379"/>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6419805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8177271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1847727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5882041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581462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4513253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31041518"/>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99891662"/>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7616843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6628054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5512749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1127250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47631641"/>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9395692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46543148"/>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29433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55147489"/>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86409295"/>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2163551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3283061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2906162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09708406"/>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7937042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40172397"/>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National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78181486"/>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01739645"/>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175582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36844678"/>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936367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5500531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1626266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7522654"/>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1717960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427689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4749740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81432545"/>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2513582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47755803"/>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1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5924377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33871780"/>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8525016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29854460"/>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CVS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8996855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74988402"/>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Div1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9280868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5387096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32670475"/>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26160966"/>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Nm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83941768"/>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78552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201234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84411523"/>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Walmart Sc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68903643"/>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83555971"/>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mazon 3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76054550"/>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26078285"/>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Amazo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1904815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CVS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32166885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666094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402348622"/>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Amazon 1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04829838"/>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 Div1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33197490"/>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 Sc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3288944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2450123"/>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0574324"/>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77299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375422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35352294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8623804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1464064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0759323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06787902"/>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0024567"/>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44467190"/>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5242510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656413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4935286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66517780"/>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4804624"/>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2817242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848209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8981635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871351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46084699"/>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639243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12353745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97247626"/>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5528360"/>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48213133"/>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56677682"/>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964695999"/>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3179128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356022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415432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63178377"/>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775756272"/>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57391772"/>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02193916"/>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2944463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5684014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214366817"/>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31495543"/>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66066526"/>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309341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368607265"/>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9333424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707513794"/>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119884491"/>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71104526"/>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47490069"/>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30094571"/>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641935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10898405"/>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69754804"/>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28560198"/>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14203947"/>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25674612"/>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67862152"/>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25336881"/>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5952532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85967279"/>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868084204"/>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82935930"/>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70492197"/>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28938034"/>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307859782"/>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41828412"/>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6812364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25252909"/>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20271855"/>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94376784"/>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82941047"/>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24439628"/>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62591294"/>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23437845"/>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0903816"/>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284985"/>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98167157"/>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84390507"/>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20457093"/>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03040631"/>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49751665"/>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14375966"/>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822244733"/>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961649702"/>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0585530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197485409"/>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99002822"/>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793992423"/>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4602411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38338488"/>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043173578"/>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564516944"/>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3658525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57112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641837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46694192"/>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64157427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114753894"/>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49223740"/>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11071813"/>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125656178"/>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38008822"/>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929440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27711643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84971545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03633389"/>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37869527"/>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09307051"/>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30979072"/>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1746639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63307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09415483"/>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8015606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55463019"/>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0151883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96123299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673645020"/>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72115327"/>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82517210"/>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3721349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92815314"/>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69560212"/>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412769257"/>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202654606"/>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56348679"/>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0607083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574397957"/>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97551997"/>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51612019"/>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2582514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27412986"/>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655403972"/>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593662209"/>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07408779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41036907"/>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548667707"/>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005372931"/>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1267660602"/>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45470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487901923"/>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170712124"/>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420957388"/>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3783755917"/>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910439054"/>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458454965"/>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6/2024</a:t>
            </a:fld>
            <a:endParaRPr lang="en-US"/>
          </a:p>
        </p:txBody>
      </p:sp>
    </p:spTree>
    <p:extLst>
      <p:ext uri="{BB962C8B-B14F-4D97-AF65-F5344CB8AC3E}">
        <p14:creationId xmlns:p14="http://schemas.microsoft.com/office/powerpoint/2010/main" val="2827578032"/>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Amaz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0.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3.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1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939234259"/>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79.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30</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2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11644193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01269299"/>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Amazon 1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4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9.9</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1.3</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851975423"/>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CV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1.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2.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77841926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Div1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7.5</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553198103"/>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Nm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7.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160967030"/>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Sc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4.6</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6.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2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3343973829"/>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Amazon 3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5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0.3</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6/2024</a:t>
            </a:fld>
            <a:endParaRPr lang="en-US"/>
          </a:p>
        </p:txBody>
      </p:sp>
    </p:spTree>
    <p:extLst>
      <p:ext uri="{BB962C8B-B14F-4D97-AF65-F5344CB8AC3E}">
        <p14:creationId xmlns:p14="http://schemas.microsoft.com/office/powerpoint/2010/main" val="5514508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921541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9387908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627952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0941274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0696564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9412160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1126492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2798094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510799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415770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939701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555650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7283443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5081203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9367789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0762263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7527644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149945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6330090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296962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2993362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4291692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5668073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5675129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6592946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6536376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7267324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3147203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30001367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20192810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393055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6354635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14583957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4480225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17276863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6/2024</a:t>
            </a:fld>
            <a:endParaRPr lang="en-US"/>
          </a:p>
        </p:txBody>
      </p:sp>
    </p:spTree>
    <p:extLst>
      <p:ext uri="{BB962C8B-B14F-4D97-AF65-F5344CB8AC3E}">
        <p14:creationId xmlns:p14="http://schemas.microsoft.com/office/powerpoint/2010/main" val="74273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Raphaella ASHRAF</cp:lastModifiedBy>
  <cp:revision>5</cp:revision>
  <dcterms:created xsi:type="dcterms:W3CDTF">2024-07-05T07:54:38Z</dcterms:created>
  <dcterms:modified xsi:type="dcterms:W3CDTF">2024-12-16T13:45:20Z</dcterms:modified>
</cp:coreProperties>
</file>